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tags/tag21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08" r:id="rId4"/>
    <p:sldMasterId id="2147483847" r:id="rId5"/>
    <p:sldMasterId id="2147483885" r:id="rId6"/>
    <p:sldMasterId id="2147483915" r:id="rId7"/>
    <p:sldMasterId id="2147483986" r:id="rId8"/>
    <p:sldMasterId id="2147483988" r:id="rId9"/>
    <p:sldMasterId id="2147484005" r:id="rId10"/>
    <p:sldMasterId id="2147484025" r:id="rId11"/>
    <p:sldMasterId id="2147484084" r:id="rId12"/>
    <p:sldMasterId id="2147484149" r:id="rId13"/>
    <p:sldMasterId id="2147484169" r:id="rId14"/>
  </p:sldMasterIdLst>
  <p:notesMasterIdLst>
    <p:notesMasterId r:id="rId20"/>
  </p:notesMasterIdLst>
  <p:handoutMasterIdLst>
    <p:handoutMasterId r:id="rId21"/>
  </p:handoutMasterIdLst>
  <p:sldIdLst>
    <p:sldId id="765" r:id="rId15"/>
    <p:sldId id="774" r:id="rId16"/>
    <p:sldId id="787" r:id="rId17"/>
    <p:sldId id="773" r:id="rId18"/>
    <p:sldId id="651" r:id="rId19"/>
  </p:sldIdLst>
  <p:sldSz cx="12192000" cy="6858000"/>
  <p:notesSz cx="7010400" cy="9296400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FE606AC-30B0-419D-B042-DA9B203F8E7A}">
          <p14:sldIdLst>
            <p14:sldId id="765"/>
            <p14:sldId id="774"/>
            <p14:sldId id="787"/>
            <p14:sldId id="773"/>
            <p14:sldId id="65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onnie Glendinning" initials="" lastIdx="12" clrIdx="0"/>
  <p:cmAuthor id="1" name="Nirali Patel" initials="NP" lastIdx="0" clrIdx="1">
    <p:extLst>
      <p:ext uri="{19B8F6BF-5375-455C-9EA6-DF929625EA0E}">
        <p15:presenceInfo xmlns:p15="http://schemas.microsoft.com/office/powerpoint/2012/main" userId="Nirali Pat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540D"/>
    <a:srgbClr val="00729D"/>
    <a:srgbClr val="F67B44"/>
    <a:srgbClr val="34ACDE"/>
    <a:srgbClr val="537F9F"/>
    <a:srgbClr val="95C1E2"/>
    <a:srgbClr val="EFEEE7"/>
    <a:srgbClr val="979200"/>
    <a:srgbClr val="00BABA"/>
    <a:srgbClr val="5493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56" autoAdjust="0"/>
    <p:restoredTop sz="93907" autoAdjust="0"/>
  </p:normalViewPr>
  <p:slideViewPr>
    <p:cSldViewPr snapToGrid="0">
      <p:cViewPr varScale="1">
        <p:scale>
          <a:sx n="107" d="100"/>
          <a:sy n="107" d="100"/>
        </p:scale>
        <p:origin x="204" y="11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98"/>
    </p:cViewPr>
  </p:sorterViewPr>
  <p:notesViewPr>
    <p:cSldViewPr snapToGrid="0">
      <p:cViewPr varScale="1">
        <p:scale>
          <a:sx n="54" d="100"/>
          <a:sy n="54" d="100"/>
        </p:scale>
        <p:origin x="2874" y="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478338" y="8946132"/>
            <a:ext cx="2249605" cy="263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ctr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algn="l"/>
            <a:fld id="{FF589425-449D-4D80-B16A-0FCA3F0B391A}" type="datetime9"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pPr algn="l"/>
              <a:t>5/10/2019 5:42:06 PM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33639" y="8946132"/>
            <a:ext cx="2618354" cy="27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ctr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al and Proprietary, © NXP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8362" y="8730781"/>
            <a:ext cx="398863" cy="464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FB1A579D-3553-4F33-9067-7E7231905C3B}" type="slidenum"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6264219" y="8945813"/>
            <a:ext cx="494838" cy="180086"/>
            <a:chOff x="271463" y="2852738"/>
            <a:chExt cx="3190876" cy="1149350"/>
          </a:xfrm>
        </p:grpSpPr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577976" y="2852738"/>
              <a:ext cx="609600" cy="1149350"/>
            </a:xfrm>
            <a:custGeom>
              <a:avLst/>
              <a:gdLst>
                <a:gd name="T0" fmla="*/ 0 w 384"/>
                <a:gd name="T1" fmla="*/ 0 h 724"/>
                <a:gd name="T2" fmla="*/ 41 w 384"/>
                <a:gd name="T3" fmla="*/ 0 h 724"/>
                <a:gd name="T4" fmla="*/ 192 w 384"/>
                <a:gd name="T5" fmla="*/ 241 h 724"/>
                <a:gd name="T6" fmla="*/ 341 w 384"/>
                <a:gd name="T7" fmla="*/ 0 h 724"/>
                <a:gd name="T8" fmla="*/ 382 w 384"/>
                <a:gd name="T9" fmla="*/ 0 h 724"/>
                <a:gd name="T10" fmla="*/ 382 w 384"/>
                <a:gd name="T11" fmla="*/ 723 h 724"/>
                <a:gd name="T12" fmla="*/ 384 w 384"/>
                <a:gd name="T13" fmla="*/ 724 h 724"/>
                <a:gd name="T14" fmla="*/ 341 w 384"/>
                <a:gd name="T15" fmla="*/ 724 h 724"/>
                <a:gd name="T16" fmla="*/ 192 w 384"/>
                <a:gd name="T17" fmla="*/ 483 h 724"/>
                <a:gd name="T18" fmla="*/ 41 w 384"/>
                <a:gd name="T19" fmla="*/ 724 h 724"/>
                <a:gd name="T20" fmla="*/ 0 w 384"/>
                <a:gd name="T21" fmla="*/ 724 h 724"/>
                <a:gd name="T22" fmla="*/ 0 w 384"/>
                <a:gd name="T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724">
                  <a:moveTo>
                    <a:pt x="0" y="0"/>
                  </a:moveTo>
                  <a:lnTo>
                    <a:pt x="41" y="0"/>
                  </a:lnTo>
                  <a:lnTo>
                    <a:pt x="192" y="241"/>
                  </a:lnTo>
                  <a:lnTo>
                    <a:pt x="341" y="0"/>
                  </a:lnTo>
                  <a:lnTo>
                    <a:pt x="382" y="0"/>
                  </a:lnTo>
                  <a:lnTo>
                    <a:pt x="382" y="723"/>
                  </a:lnTo>
                  <a:lnTo>
                    <a:pt x="384" y="724"/>
                  </a:lnTo>
                  <a:lnTo>
                    <a:pt x="341" y="724"/>
                  </a:lnTo>
                  <a:lnTo>
                    <a:pt x="192" y="483"/>
                  </a:lnTo>
                  <a:lnTo>
                    <a:pt x="41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B2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225551" y="2852738"/>
              <a:ext cx="352425" cy="1149350"/>
            </a:xfrm>
            <a:custGeom>
              <a:avLst/>
              <a:gdLst>
                <a:gd name="T0" fmla="*/ 0 w 222"/>
                <a:gd name="T1" fmla="*/ 0 h 724"/>
                <a:gd name="T2" fmla="*/ 222 w 222"/>
                <a:gd name="T3" fmla="*/ 0 h 724"/>
                <a:gd name="T4" fmla="*/ 222 w 222"/>
                <a:gd name="T5" fmla="*/ 724 h 724"/>
                <a:gd name="T6" fmla="*/ 0 w 222"/>
                <a:gd name="T7" fmla="*/ 724 h 724"/>
                <a:gd name="T8" fmla="*/ 222 w 222"/>
                <a:gd name="T9" fmla="*/ 361 h 724"/>
                <a:gd name="T10" fmla="*/ 0 w 222"/>
                <a:gd name="T1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724">
                  <a:moveTo>
                    <a:pt x="0" y="0"/>
                  </a:moveTo>
                  <a:lnTo>
                    <a:pt x="222" y="0"/>
                  </a:lnTo>
                  <a:lnTo>
                    <a:pt x="222" y="724"/>
                  </a:lnTo>
                  <a:lnTo>
                    <a:pt x="0" y="724"/>
                  </a:lnTo>
                  <a:lnTo>
                    <a:pt x="222" y="3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843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2184401" y="2852738"/>
              <a:ext cx="354013" cy="1149350"/>
            </a:xfrm>
            <a:custGeom>
              <a:avLst/>
              <a:gdLst>
                <a:gd name="T0" fmla="*/ 0 w 223"/>
                <a:gd name="T1" fmla="*/ 0 h 724"/>
                <a:gd name="T2" fmla="*/ 223 w 223"/>
                <a:gd name="T3" fmla="*/ 0 h 724"/>
                <a:gd name="T4" fmla="*/ 2 w 223"/>
                <a:gd name="T5" fmla="*/ 361 h 724"/>
                <a:gd name="T6" fmla="*/ 223 w 223"/>
                <a:gd name="T7" fmla="*/ 724 h 724"/>
                <a:gd name="T8" fmla="*/ 2 w 223"/>
                <a:gd name="T9" fmla="*/ 724 h 724"/>
                <a:gd name="T10" fmla="*/ 0 w 223"/>
                <a:gd name="T11" fmla="*/ 723 h 724"/>
                <a:gd name="T12" fmla="*/ 0 w 223"/>
                <a:gd name="T1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724">
                  <a:moveTo>
                    <a:pt x="0" y="0"/>
                  </a:moveTo>
                  <a:lnTo>
                    <a:pt x="223" y="0"/>
                  </a:lnTo>
                  <a:lnTo>
                    <a:pt x="2" y="361"/>
                  </a:lnTo>
                  <a:lnTo>
                    <a:pt x="223" y="724"/>
                  </a:lnTo>
                  <a:lnTo>
                    <a:pt x="2" y="724"/>
                  </a:lnTo>
                  <a:lnTo>
                    <a:pt x="0" y="7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98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2187576" y="2852738"/>
              <a:ext cx="1274763" cy="1149350"/>
            </a:xfrm>
            <a:custGeom>
              <a:avLst/>
              <a:gdLst>
                <a:gd name="T0" fmla="*/ 221 w 803"/>
                <a:gd name="T1" fmla="*/ 179 h 724"/>
                <a:gd name="T2" fmla="*/ 221 w 803"/>
                <a:gd name="T3" fmla="*/ 383 h 724"/>
                <a:gd name="T4" fmla="*/ 523 w 803"/>
                <a:gd name="T5" fmla="*/ 383 h 724"/>
                <a:gd name="T6" fmla="*/ 543 w 803"/>
                <a:gd name="T7" fmla="*/ 382 h 724"/>
                <a:gd name="T8" fmla="*/ 560 w 803"/>
                <a:gd name="T9" fmla="*/ 374 h 724"/>
                <a:gd name="T10" fmla="*/ 573 w 803"/>
                <a:gd name="T11" fmla="*/ 361 h 724"/>
                <a:gd name="T12" fmla="*/ 583 w 803"/>
                <a:gd name="T13" fmla="*/ 346 h 724"/>
                <a:gd name="T14" fmla="*/ 589 w 803"/>
                <a:gd name="T15" fmla="*/ 329 h 724"/>
                <a:gd name="T16" fmla="*/ 594 w 803"/>
                <a:gd name="T17" fmla="*/ 310 h 724"/>
                <a:gd name="T18" fmla="*/ 596 w 803"/>
                <a:gd name="T19" fmla="*/ 292 h 724"/>
                <a:gd name="T20" fmla="*/ 596 w 803"/>
                <a:gd name="T21" fmla="*/ 256 h 724"/>
                <a:gd name="T22" fmla="*/ 592 w 803"/>
                <a:gd name="T23" fmla="*/ 233 h 724"/>
                <a:gd name="T24" fmla="*/ 586 w 803"/>
                <a:gd name="T25" fmla="*/ 215 h 724"/>
                <a:gd name="T26" fmla="*/ 574 w 803"/>
                <a:gd name="T27" fmla="*/ 200 h 724"/>
                <a:gd name="T28" fmla="*/ 558 w 803"/>
                <a:gd name="T29" fmla="*/ 188 h 724"/>
                <a:gd name="T30" fmla="*/ 533 w 803"/>
                <a:gd name="T31" fmla="*/ 182 h 724"/>
                <a:gd name="T32" fmla="*/ 504 w 803"/>
                <a:gd name="T33" fmla="*/ 179 h 724"/>
                <a:gd name="T34" fmla="*/ 221 w 803"/>
                <a:gd name="T35" fmla="*/ 179 h 724"/>
                <a:gd name="T36" fmla="*/ 221 w 803"/>
                <a:gd name="T37" fmla="*/ 0 h 724"/>
                <a:gd name="T38" fmla="*/ 540 w 803"/>
                <a:gd name="T39" fmla="*/ 0 h 724"/>
                <a:gd name="T40" fmla="*/ 589 w 803"/>
                <a:gd name="T41" fmla="*/ 2 h 724"/>
                <a:gd name="T42" fmla="*/ 633 w 803"/>
                <a:gd name="T43" fmla="*/ 8 h 724"/>
                <a:gd name="T44" fmla="*/ 670 w 803"/>
                <a:gd name="T45" fmla="*/ 18 h 724"/>
                <a:gd name="T46" fmla="*/ 702 w 803"/>
                <a:gd name="T47" fmla="*/ 33 h 724"/>
                <a:gd name="T48" fmla="*/ 729 w 803"/>
                <a:gd name="T49" fmla="*/ 49 h 724"/>
                <a:gd name="T50" fmla="*/ 750 w 803"/>
                <a:gd name="T51" fmla="*/ 70 h 724"/>
                <a:gd name="T52" fmla="*/ 768 w 803"/>
                <a:gd name="T53" fmla="*/ 93 h 724"/>
                <a:gd name="T54" fmla="*/ 781 w 803"/>
                <a:gd name="T55" fmla="*/ 120 h 724"/>
                <a:gd name="T56" fmla="*/ 791 w 803"/>
                <a:gd name="T57" fmla="*/ 149 h 724"/>
                <a:gd name="T58" fmla="*/ 798 w 803"/>
                <a:gd name="T59" fmla="*/ 180 h 724"/>
                <a:gd name="T60" fmla="*/ 803 w 803"/>
                <a:gd name="T61" fmla="*/ 213 h 724"/>
                <a:gd name="T62" fmla="*/ 803 w 803"/>
                <a:gd name="T63" fmla="*/ 247 h 724"/>
                <a:gd name="T64" fmla="*/ 803 w 803"/>
                <a:gd name="T65" fmla="*/ 333 h 724"/>
                <a:gd name="T66" fmla="*/ 803 w 803"/>
                <a:gd name="T67" fmla="*/ 361 h 724"/>
                <a:gd name="T68" fmla="*/ 798 w 803"/>
                <a:gd name="T69" fmla="*/ 392 h 724"/>
                <a:gd name="T70" fmla="*/ 791 w 803"/>
                <a:gd name="T71" fmla="*/ 421 h 724"/>
                <a:gd name="T72" fmla="*/ 781 w 803"/>
                <a:gd name="T73" fmla="*/ 449 h 724"/>
                <a:gd name="T74" fmla="*/ 768 w 803"/>
                <a:gd name="T75" fmla="*/ 475 h 724"/>
                <a:gd name="T76" fmla="*/ 750 w 803"/>
                <a:gd name="T77" fmla="*/ 500 h 724"/>
                <a:gd name="T78" fmla="*/ 729 w 803"/>
                <a:gd name="T79" fmla="*/ 521 h 724"/>
                <a:gd name="T80" fmla="*/ 704 w 803"/>
                <a:gd name="T81" fmla="*/ 539 h 724"/>
                <a:gd name="T82" fmla="*/ 673 w 803"/>
                <a:gd name="T83" fmla="*/ 552 h 724"/>
                <a:gd name="T84" fmla="*/ 638 w 803"/>
                <a:gd name="T85" fmla="*/ 560 h 724"/>
                <a:gd name="T86" fmla="*/ 597 w 803"/>
                <a:gd name="T87" fmla="*/ 564 h 724"/>
                <a:gd name="T88" fmla="*/ 221 w 803"/>
                <a:gd name="T89" fmla="*/ 564 h 724"/>
                <a:gd name="T90" fmla="*/ 221 w 803"/>
                <a:gd name="T91" fmla="*/ 724 h 724"/>
                <a:gd name="T92" fmla="*/ 221 w 803"/>
                <a:gd name="T93" fmla="*/ 724 h 724"/>
                <a:gd name="T94" fmla="*/ 0 w 803"/>
                <a:gd name="T95" fmla="*/ 361 h 724"/>
                <a:gd name="T96" fmla="*/ 221 w 803"/>
                <a:gd name="T97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3" h="724">
                  <a:moveTo>
                    <a:pt x="221" y="179"/>
                  </a:moveTo>
                  <a:lnTo>
                    <a:pt x="221" y="383"/>
                  </a:lnTo>
                  <a:lnTo>
                    <a:pt x="523" y="383"/>
                  </a:lnTo>
                  <a:lnTo>
                    <a:pt x="543" y="382"/>
                  </a:lnTo>
                  <a:lnTo>
                    <a:pt x="560" y="374"/>
                  </a:lnTo>
                  <a:lnTo>
                    <a:pt x="573" y="361"/>
                  </a:lnTo>
                  <a:lnTo>
                    <a:pt x="583" y="346"/>
                  </a:lnTo>
                  <a:lnTo>
                    <a:pt x="589" y="329"/>
                  </a:lnTo>
                  <a:lnTo>
                    <a:pt x="594" y="310"/>
                  </a:lnTo>
                  <a:lnTo>
                    <a:pt x="596" y="292"/>
                  </a:lnTo>
                  <a:lnTo>
                    <a:pt x="596" y="256"/>
                  </a:lnTo>
                  <a:lnTo>
                    <a:pt x="592" y="233"/>
                  </a:lnTo>
                  <a:lnTo>
                    <a:pt x="586" y="215"/>
                  </a:lnTo>
                  <a:lnTo>
                    <a:pt x="574" y="200"/>
                  </a:lnTo>
                  <a:lnTo>
                    <a:pt x="558" y="188"/>
                  </a:lnTo>
                  <a:lnTo>
                    <a:pt x="533" y="182"/>
                  </a:lnTo>
                  <a:lnTo>
                    <a:pt x="504" y="179"/>
                  </a:lnTo>
                  <a:lnTo>
                    <a:pt x="221" y="179"/>
                  </a:lnTo>
                  <a:close/>
                  <a:moveTo>
                    <a:pt x="221" y="0"/>
                  </a:moveTo>
                  <a:lnTo>
                    <a:pt x="540" y="0"/>
                  </a:lnTo>
                  <a:lnTo>
                    <a:pt x="589" y="2"/>
                  </a:lnTo>
                  <a:lnTo>
                    <a:pt x="633" y="8"/>
                  </a:lnTo>
                  <a:lnTo>
                    <a:pt x="670" y="18"/>
                  </a:lnTo>
                  <a:lnTo>
                    <a:pt x="702" y="33"/>
                  </a:lnTo>
                  <a:lnTo>
                    <a:pt x="729" y="49"/>
                  </a:lnTo>
                  <a:lnTo>
                    <a:pt x="750" y="70"/>
                  </a:lnTo>
                  <a:lnTo>
                    <a:pt x="768" y="93"/>
                  </a:lnTo>
                  <a:lnTo>
                    <a:pt x="781" y="120"/>
                  </a:lnTo>
                  <a:lnTo>
                    <a:pt x="791" y="149"/>
                  </a:lnTo>
                  <a:lnTo>
                    <a:pt x="798" y="180"/>
                  </a:lnTo>
                  <a:lnTo>
                    <a:pt x="803" y="213"/>
                  </a:lnTo>
                  <a:lnTo>
                    <a:pt x="803" y="247"/>
                  </a:lnTo>
                  <a:lnTo>
                    <a:pt x="803" y="333"/>
                  </a:lnTo>
                  <a:lnTo>
                    <a:pt x="803" y="361"/>
                  </a:lnTo>
                  <a:lnTo>
                    <a:pt x="798" y="392"/>
                  </a:lnTo>
                  <a:lnTo>
                    <a:pt x="791" y="421"/>
                  </a:lnTo>
                  <a:lnTo>
                    <a:pt x="781" y="449"/>
                  </a:lnTo>
                  <a:lnTo>
                    <a:pt x="768" y="475"/>
                  </a:lnTo>
                  <a:lnTo>
                    <a:pt x="750" y="500"/>
                  </a:lnTo>
                  <a:lnTo>
                    <a:pt x="729" y="521"/>
                  </a:lnTo>
                  <a:lnTo>
                    <a:pt x="704" y="539"/>
                  </a:lnTo>
                  <a:lnTo>
                    <a:pt x="673" y="552"/>
                  </a:lnTo>
                  <a:lnTo>
                    <a:pt x="638" y="560"/>
                  </a:lnTo>
                  <a:lnTo>
                    <a:pt x="597" y="564"/>
                  </a:lnTo>
                  <a:lnTo>
                    <a:pt x="221" y="564"/>
                  </a:lnTo>
                  <a:lnTo>
                    <a:pt x="221" y="724"/>
                  </a:lnTo>
                  <a:lnTo>
                    <a:pt x="221" y="724"/>
                  </a:lnTo>
                  <a:lnTo>
                    <a:pt x="0" y="361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C7D22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271463" y="2852738"/>
              <a:ext cx="1306513" cy="1149350"/>
            </a:xfrm>
            <a:custGeom>
              <a:avLst/>
              <a:gdLst>
                <a:gd name="T0" fmla="*/ 0 w 823"/>
                <a:gd name="T1" fmla="*/ 0 h 724"/>
                <a:gd name="T2" fmla="*/ 223 w 823"/>
                <a:gd name="T3" fmla="*/ 0 h 724"/>
                <a:gd name="T4" fmla="*/ 601 w 823"/>
                <a:gd name="T5" fmla="*/ 438 h 724"/>
                <a:gd name="T6" fmla="*/ 601 w 823"/>
                <a:gd name="T7" fmla="*/ 0 h 724"/>
                <a:gd name="T8" fmla="*/ 601 w 823"/>
                <a:gd name="T9" fmla="*/ 0 h 724"/>
                <a:gd name="T10" fmla="*/ 823 w 823"/>
                <a:gd name="T11" fmla="*/ 361 h 724"/>
                <a:gd name="T12" fmla="*/ 601 w 823"/>
                <a:gd name="T13" fmla="*/ 724 h 724"/>
                <a:gd name="T14" fmla="*/ 223 w 823"/>
                <a:gd name="T15" fmla="*/ 287 h 724"/>
                <a:gd name="T16" fmla="*/ 223 w 823"/>
                <a:gd name="T17" fmla="*/ 724 h 724"/>
                <a:gd name="T18" fmla="*/ 0 w 823"/>
                <a:gd name="T19" fmla="*/ 724 h 724"/>
                <a:gd name="T20" fmla="*/ 0 w 823"/>
                <a:gd name="T2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3" h="724">
                  <a:moveTo>
                    <a:pt x="0" y="0"/>
                  </a:moveTo>
                  <a:lnTo>
                    <a:pt x="223" y="0"/>
                  </a:lnTo>
                  <a:lnTo>
                    <a:pt x="601" y="438"/>
                  </a:lnTo>
                  <a:lnTo>
                    <a:pt x="601" y="0"/>
                  </a:lnTo>
                  <a:lnTo>
                    <a:pt x="601" y="0"/>
                  </a:lnTo>
                  <a:lnTo>
                    <a:pt x="823" y="361"/>
                  </a:lnTo>
                  <a:lnTo>
                    <a:pt x="601" y="724"/>
                  </a:lnTo>
                  <a:lnTo>
                    <a:pt x="223" y="287"/>
                  </a:lnTo>
                  <a:lnTo>
                    <a:pt x="223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89197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6400" y="698500"/>
            <a:ext cx="61976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345" y="4416099"/>
            <a:ext cx="5607711" cy="4182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6" rIns="93172" bIns="46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478338" y="8946132"/>
            <a:ext cx="2249605" cy="263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ctr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algn="l"/>
            <a:fld id="{FF589425-449D-4D80-B16A-0FCA3F0B391A}" type="datetime9"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</a:rPr>
              <a:pPr algn="l"/>
              <a:t>5/10/2019 5:41:59 PM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33639" y="8946132"/>
            <a:ext cx="2618354" cy="27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ctr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al and Proprietary, © NXP</a:t>
            </a: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8362" y="8730781"/>
            <a:ext cx="398863" cy="464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9" tIns="44070" rIns="88139" bIns="4407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FB1A579D-3553-4F33-9067-7E7231905C3B}" type="slidenum"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6264219" y="8945813"/>
            <a:ext cx="494838" cy="180086"/>
            <a:chOff x="271463" y="2852738"/>
            <a:chExt cx="3190876" cy="1149350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77976" y="2852738"/>
              <a:ext cx="609600" cy="1149350"/>
            </a:xfrm>
            <a:custGeom>
              <a:avLst/>
              <a:gdLst>
                <a:gd name="T0" fmla="*/ 0 w 384"/>
                <a:gd name="T1" fmla="*/ 0 h 724"/>
                <a:gd name="T2" fmla="*/ 41 w 384"/>
                <a:gd name="T3" fmla="*/ 0 h 724"/>
                <a:gd name="T4" fmla="*/ 192 w 384"/>
                <a:gd name="T5" fmla="*/ 241 h 724"/>
                <a:gd name="T6" fmla="*/ 341 w 384"/>
                <a:gd name="T7" fmla="*/ 0 h 724"/>
                <a:gd name="T8" fmla="*/ 382 w 384"/>
                <a:gd name="T9" fmla="*/ 0 h 724"/>
                <a:gd name="T10" fmla="*/ 382 w 384"/>
                <a:gd name="T11" fmla="*/ 723 h 724"/>
                <a:gd name="T12" fmla="*/ 384 w 384"/>
                <a:gd name="T13" fmla="*/ 724 h 724"/>
                <a:gd name="T14" fmla="*/ 341 w 384"/>
                <a:gd name="T15" fmla="*/ 724 h 724"/>
                <a:gd name="T16" fmla="*/ 192 w 384"/>
                <a:gd name="T17" fmla="*/ 483 h 724"/>
                <a:gd name="T18" fmla="*/ 41 w 384"/>
                <a:gd name="T19" fmla="*/ 724 h 724"/>
                <a:gd name="T20" fmla="*/ 0 w 384"/>
                <a:gd name="T21" fmla="*/ 724 h 724"/>
                <a:gd name="T22" fmla="*/ 0 w 384"/>
                <a:gd name="T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724">
                  <a:moveTo>
                    <a:pt x="0" y="0"/>
                  </a:moveTo>
                  <a:lnTo>
                    <a:pt x="41" y="0"/>
                  </a:lnTo>
                  <a:lnTo>
                    <a:pt x="192" y="241"/>
                  </a:lnTo>
                  <a:lnTo>
                    <a:pt x="341" y="0"/>
                  </a:lnTo>
                  <a:lnTo>
                    <a:pt x="382" y="0"/>
                  </a:lnTo>
                  <a:lnTo>
                    <a:pt x="382" y="723"/>
                  </a:lnTo>
                  <a:lnTo>
                    <a:pt x="384" y="724"/>
                  </a:lnTo>
                  <a:lnTo>
                    <a:pt x="341" y="724"/>
                  </a:lnTo>
                  <a:lnTo>
                    <a:pt x="192" y="483"/>
                  </a:lnTo>
                  <a:lnTo>
                    <a:pt x="41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B2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1225551" y="2852738"/>
              <a:ext cx="352425" cy="1149350"/>
            </a:xfrm>
            <a:custGeom>
              <a:avLst/>
              <a:gdLst>
                <a:gd name="T0" fmla="*/ 0 w 222"/>
                <a:gd name="T1" fmla="*/ 0 h 724"/>
                <a:gd name="T2" fmla="*/ 222 w 222"/>
                <a:gd name="T3" fmla="*/ 0 h 724"/>
                <a:gd name="T4" fmla="*/ 222 w 222"/>
                <a:gd name="T5" fmla="*/ 724 h 724"/>
                <a:gd name="T6" fmla="*/ 0 w 222"/>
                <a:gd name="T7" fmla="*/ 724 h 724"/>
                <a:gd name="T8" fmla="*/ 222 w 222"/>
                <a:gd name="T9" fmla="*/ 361 h 724"/>
                <a:gd name="T10" fmla="*/ 0 w 222"/>
                <a:gd name="T1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724">
                  <a:moveTo>
                    <a:pt x="0" y="0"/>
                  </a:moveTo>
                  <a:lnTo>
                    <a:pt x="222" y="0"/>
                  </a:lnTo>
                  <a:lnTo>
                    <a:pt x="222" y="724"/>
                  </a:lnTo>
                  <a:lnTo>
                    <a:pt x="0" y="724"/>
                  </a:lnTo>
                  <a:lnTo>
                    <a:pt x="222" y="3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843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2184401" y="2852738"/>
              <a:ext cx="354013" cy="1149350"/>
            </a:xfrm>
            <a:custGeom>
              <a:avLst/>
              <a:gdLst>
                <a:gd name="T0" fmla="*/ 0 w 223"/>
                <a:gd name="T1" fmla="*/ 0 h 724"/>
                <a:gd name="T2" fmla="*/ 223 w 223"/>
                <a:gd name="T3" fmla="*/ 0 h 724"/>
                <a:gd name="T4" fmla="*/ 2 w 223"/>
                <a:gd name="T5" fmla="*/ 361 h 724"/>
                <a:gd name="T6" fmla="*/ 223 w 223"/>
                <a:gd name="T7" fmla="*/ 724 h 724"/>
                <a:gd name="T8" fmla="*/ 2 w 223"/>
                <a:gd name="T9" fmla="*/ 724 h 724"/>
                <a:gd name="T10" fmla="*/ 0 w 223"/>
                <a:gd name="T11" fmla="*/ 723 h 724"/>
                <a:gd name="T12" fmla="*/ 0 w 223"/>
                <a:gd name="T1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724">
                  <a:moveTo>
                    <a:pt x="0" y="0"/>
                  </a:moveTo>
                  <a:lnTo>
                    <a:pt x="223" y="0"/>
                  </a:lnTo>
                  <a:lnTo>
                    <a:pt x="2" y="361"/>
                  </a:lnTo>
                  <a:lnTo>
                    <a:pt x="223" y="724"/>
                  </a:lnTo>
                  <a:lnTo>
                    <a:pt x="2" y="724"/>
                  </a:lnTo>
                  <a:lnTo>
                    <a:pt x="0" y="7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98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187576" y="2852738"/>
              <a:ext cx="1274763" cy="1149350"/>
            </a:xfrm>
            <a:custGeom>
              <a:avLst/>
              <a:gdLst>
                <a:gd name="T0" fmla="*/ 221 w 803"/>
                <a:gd name="T1" fmla="*/ 179 h 724"/>
                <a:gd name="T2" fmla="*/ 221 w 803"/>
                <a:gd name="T3" fmla="*/ 383 h 724"/>
                <a:gd name="T4" fmla="*/ 523 w 803"/>
                <a:gd name="T5" fmla="*/ 383 h 724"/>
                <a:gd name="T6" fmla="*/ 543 w 803"/>
                <a:gd name="T7" fmla="*/ 382 h 724"/>
                <a:gd name="T8" fmla="*/ 560 w 803"/>
                <a:gd name="T9" fmla="*/ 374 h 724"/>
                <a:gd name="T10" fmla="*/ 573 w 803"/>
                <a:gd name="T11" fmla="*/ 361 h 724"/>
                <a:gd name="T12" fmla="*/ 583 w 803"/>
                <a:gd name="T13" fmla="*/ 346 h 724"/>
                <a:gd name="T14" fmla="*/ 589 w 803"/>
                <a:gd name="T15" fmla="*/ 329 h 724"/>
                <a:gd name="T16" fmla="*/ 594 w 803"/>
                <a:gd name="T17" fmla="*/ 310 h 724"/>
                <a:gd name="T18" fmla="*/ 596 w 803"/>
                <a:gd name="T19" fmla="*/ 292 h 724"/>
                <a:gd name="T20" fmla="*/ 596 w 803"/>
                <a:gd name="T21" fmla="*/ 256 h 724"/>
                <a:gd name="T22" fmla="*/ 592 w 803"/>
                <a:gd name="T23" fmla="*/ 233 h 724"/>
                <a:gd name="T24" fmla="*/ 586 w 803"/>
                <a:gd name="T25" fmla="*/ 215 h 724"/>
                <a:gd name="T26" fmla="*/ 574 w 803"/>
                <a:gd name="T27" fmla="*/ 200 h 724"/>
                <a:gd name="T28" fmla="*/ 558 w 803"/>
                <a:gd name="T29" fmla="*/ 188 h 724"/>
                <a:gd name="T30" fmla="*/ 533 w 803"/>
                <a:gd name="T31" fmla="*/ 182 h 724"/>
                <a:gd name="T32" fmla="*/ 504 w 803"/>
                <a:gd name="T33" fmla="*/ 179 h 724"/>
                <a:gd name="T34" fmla="*/ 221 w 803"/>
                <a:gd name="T35" fmla="*/ 179 h 724"/>
                <a:gd name="T36" fmla="*/ 221 w 803"/>
                <a:gd name="T37" fmla="*/ 0 h 724"/>
                <a:gd name="T38" fmla="*/ 540 w 803"/>
                <a:gd name="T39" fmla="*/ 0 h 724"/>
                <a:gd name="T40" fmla="*/ 589 w 803"/>
                <a:gd name="T41" fmla="*/ 2 h 724"/>
                <a:gd name="T42" fmla="*/ 633 w 803"/>
                <a:gd name="T43" fmla="*/ 8 h 724"/>
                <a:gd name="T44" fmla="*/ 670 w 803"/>
                <a:gd name="T45" fmla="*/ 18 h 724"/>
                <a:gd name="T46" fmla="*/ 702 w 803"/>
                <a:gd name="T47" fmla="*/ 33 h 724"/>
                <a:gd name="T48" fmla="*/ 729 w 803"/>
                <a:gd name="T49" fmla="*/ 49 h 724"/>
                <a:gd name="T50" fmla="*/ 750 w 803"/>
                <a:gd name="T51" fmla="*/ 70 h 724"/>
                <a:gd name="T52" fmla="*/ 768 w 803"/>
                <a:gd name="T53" fmla="*/ 93 h 724"/>
                <a:gd name="T54" fmla="*/ 781 w 803"/>
                <a:gd name="T55" fmla="*/ 120 h 724"/>
                <a:gd name="T56" fmla="*/ 791 w 803"/>
                <a:gd name="T57" fmla="*/ 149 h 724"/>
                <a:gd name="T58" fmla="*/ 798 w 803"/>
                <a:gd name="T59" fmla="*/ 180 h 724"/>
                <a:gd name="T60" fmla="*/ 803 w 803"/>
                <a:gd name="T61" fmla="*/ 213 h 724"/>
                <a:gd name="T62" fmla="*/ 803 w 803"/>
                <a:gd name="T63" fmla="*/ 247 h 724"/>
                <a:gd name="T64" fmla="*/ 803 w 803"/>
                <a:gd name="T65" fmla="*/ 333 h 724"/>
                <a:gd name="T66" fmla="*/ 803 w 803"/>
                <a:gd name="T67" fmla="*/ 361 h 724"/>
                <a:gd name="T68" fmla="*/ 798 w 803"/>
                <a:gd name="T69" fmla="*/ 392 h 724"/>
                <a:gd name="T70" fmla="*/ 791 w 803"/>
                <a:gd name="T71" fmla="*/ 421 h 724"/>
                <a:gd name="T72" fmla="*/ 781 w 803"/>
                <a:gd name="T73" fmla="*/ 449 h 724"/>
                <a:gd name="T74" fmla="*/ 768 w 803"/>
                <a:gd name="T75" fmla="*/ 475 h 724"/>
                <a:gd name="T76" fmla="*/ 750 w 803"/>
                <a:gd name="T77" fmla="*/ 500 h 724"/>
                <a:gd name="T78" fmla="*/ 729 w 803"/>
                <a:gd name="T79" fmla="*/ 521 h 724"/>
                <a:gd name="T80" fmla="*/ 704 w 803"/>
                <a:gd name="T81" fmla="*/ 539 h 724"/>
                <a:gd name="T82" fmla="*/ 673 w 803"/>
                <a:gd name="T83" fmla="*/ 552 h 724"/>
                <a:gd name="T84" fmla="*/ 638 w 803"/>
                <a:gd name="T85" fmla="*/ 560 h 724"/>
                <a:gd name="T86" fmla="*/ 597 w 803"/>
                <a:gd name="T87" fmla="*/ 564 h 724"/>
                <a:gd name="T88" fmla="*/ 221 w 803"/>
                <a:gd name="T89" fmla="*/ 564 h 724"/>
                <a:gd name="T90" fmla="*/ 221 w 803"/>
                <a:gd name="T91" fmla="*/ 724 h 724"/>
                <a:gd name="T92" fmla="*/ 221 w 803"/>
                <a:gd name="T93" fmla="*/ 724 h 724"/>
                <a:gd name="T94" fmla="*/ 0 w 803"/>
                <a:gd name="T95" fmla="*/ 361 h 724"/>
                <a:gd name="T96" fmla="*/ 221 w 803"/>
                <a:gd name="T97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3" h="724">
                  <a:moveTo>
                    <a:pt x="221" y="179"/>
                  </a:moveTo>
                  <a:lnTo>
                    <a:pt x="221" y="383"/>
                  </a:lnTo>
                  <a:lnTo>
                    <a:pt x="523" y="383"/>
                  </a:lnTo>
                  <a:lnTo>
                    <a:pt x="543" y="382"/>
                  </a:lnTo>
                  <a:lnTo>
                    <a:pt x="560" y="374"/>
                  </a:lnTo>
                  <a:lnTo>
                    <a:pt x="573" y="361"/>
                  </a:lnTo>
                  <a:lnTo>
                    <a:pt x="583" y="346"/>
                  </a:lnTo>
                  <a:lnTo>
                    <a:pt x="589" y="329"/>
                  </a:lnTo>
                  <a:lnTo>
                    <a:pt x="594" y="310"/>
                  </a:lnTo>
                  <a:lnTo>
                    <a:pt x="596" y="292"/>
                  </a:lnTo>
                  <a:lnTo>
                    <a:pt x="596" y="256"/>
                  </a:lnTo>
                  <a:lnTo>
                    <a:pt x="592" y="233"/>
                  </a:lnTo>
                  <a:lnTo>
                    <a:pt x="586" y="215"/>
                  </a:lnTo>
                  <a:lnTo>
                    <a:pt x="574" y="200"/>
                  </a:lnTo>
                  <a:lnTo>
                    <a:pt x="558" y="188"/>
                  </a:lnTo>
                  <a:lnTo>
                    <a:pt x="533" y="182"/>
                  </a:lnTo>
                  <a:lnTo>
                    <a:pt x="504" y="179"/>
                  </a:lnTo>
                  <a:lnTo>
                    <a:pt x="221" y="179"/>
                  </a:lnTo>
                  <a:close/>
                  <a:moveTo>
                    <a:pt x="221" y="0"/>
                  </a:moveTo>
                  <a:lnTo>
                    <a:pt x="540" y="0"/>
                  </a:lnTo>
                  <a:lnTo>
                    <a:pt x="589" y="2"/>
                  </a:lnTo>
                  <a:lnTo>
                    <a:pt x="633" y="8"/>
                  </a:lnTo>
                  <a:lnTo>
                    <a:pt x="670" y="18"/>
                  </a:lnTo>
                  <a:lnTo>
                    <a:pt x="702" y="33"/>
                  </a:lnTo>
                  <a:lnTo>
                    <a:pt x="729" y="49"/>
                  </a:lnTo>
                  <a:lnTo>
                    <a:pt x="750" y="70"/>
                  </a:lnTo>
                  <a:lnTo>
                    <a:pt x="768" y="93"/>
                  </a:lnTo>
                  <a:lnTo>
                    <a:pt x="781" y="120"/>
                  </a:lnTo>
                  <a:lnTo>
                    <a:pt x="791" y="149"/>
                  </a:lnTo>
                  <a:lnTo>
                    <a:pt x="798" y="180"/>
                  </a:lnTo>
                  <a:lnTo>
                    <a:pt x="803" y="213"/>
                  </a:lnTo>
                  <a:lnTo>
                    <a:pt x="803" y="247"/>
                  </a:lnTo>
                  <a:lnTo>
                    <a:pt x="803" y="333"/>
                  </a:lnTo>
                  <a:lnTo>
                    <a:pt x="803" y="361"/>
                  </a:lnTo>
                  <a:lnTo>
                    <a:pt x="798" y="392"/>
                  </a:lnTo>
                  <a:lnTo>
                    <a:pt x="791" y="421"/>
                  </a:lnTo>
                  <a:lnTo>
                    <a:pt x="781" y="449"/>
                  </a:lnTo>
                  <a:lnTo>
                    <a:pt x="768" y="475"/>
                  </a:lnTo>
                  <a:lnTo>
                    <a:pt x="750" y="500"/>
                  </a:lnTo>
                  <a:lnTo>
                    <a:pt x="729" y="521"/>
                  </a:lnTo>
                  <a:lnTo>
                    <a:pt x="704" y="539"/>
                  </a:lnTo>
                  <a:lnTo>
                    <a:pt x="673" y="552"/>
                  </a:lnTo>
                  <a:lnTo>
                    <a:pt x="638" y="560"/>
                  </a:lnTo>
                  <a:lnTo>
                    <a:pt x="597" y="564"/>
                  </a:lnTo>
                  <a:lnTo>
                    <a:pt x="221" y="564"/>
                  </a:lnTo>
                  <a:lnTo>
                    <a:pt x="221" y="724"/>
                  </a:lnTo>
                  <a:lnTo>
                    <a:pt x="221" y="724"/>
                  </a:lnTo>
                  <a:lnTo>
                    <a:pt x="0" y="361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C7D22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271463" y="2852738"/>
              <a:ext cx="1306513" cy="1149350"/>
            </a:xfrm>
            <a:custGeom>
              <a:avLst/>
              <a:gdLst>
                <a:gd name="T0" fmla="*/ 0 w 823"/>
                <a:gd name="T1" fmla="*/ 0 h 724"/>
                <a:gd name="T2" fmla="*/ 223 w 823"/>
                <a:gd name="T3" fmla="*/ 0 h 724"/>
                <a:gd name="T4" fmla="*/ 601 w 823"/>
                <a:gd name="T5" fmla="*/ 438 h 724"/>
                <a:gd name="T6" fmla="*/ 601 w 823"/>
                <a:gd name="T7" fmla="*/ 0 h 724"/>
                <a:gd name="T8" fmla="*/ 601 w 823"/>
                <a:gd name="T9" fmla="*/ 0 h 724"/>
                <a:gd name="T10" fmla="*/ 823 w 823"/>
                <a:gd name="T11" fmla="*/ 361 h 724"/>
                <a:gd name="T12" fmla="*/ 601 w 823"/>
                <a:gd name="T13" fmla="*/ 724 h 724"/>
                <a:gd name="T14" fmla="*/ 223 w 823"/>
                <a:gd name="T15" fmla="*/ 287 h 724"/>
                <a:gd name="T16" fmla="*/ 223 w 823"/>
                <a:gd name="T17" fmla="*/ 724 h 724"/>
                <a:gd name="T18" fmla="*/ 0 w 823"/>
                <a:gd name="T19" fmla="*/ 724 h 724"/>
                <a:gd name="T20" fmla="*/ 0 w 823"/>
                <a:gd name="T2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3" h="724">
                  <a:moveTo>
                    <a:pt x="0" y="0"/>
                  </a:moveTo>
                  <a:lnTo>
                    <a:pt x="223" y="0"/>
                  </a:lnTo>
                  <a:lnTo>
                    <a:pt x="601" y="438"/>
                  </a:lnTo>
                  <a:lnTo>
                    <a:pt x="601" y="0"/>
                  </a:lnTo>
                  <a:lnTo>
                    <a:pt x="601" y="0"/>
                  </a:lnTo>
                  <a:lnTo>
                    <a:pt x="823" y="361"/>
                  </a:lnTo>
                  <a:lnTo>
                    <a:pt x="601" y="724"/>
                  </a:lnTo>
                  <a:lnTo>
                    <a:pt x="223" y="287"/>
                  </a:lnTo>
                  <a:lnTo>
                    <a:pt x="223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080022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A579D-3553-4F33-9067-7E7231905C3B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1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268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A579D-3553-4F33-9067-7E7231905C3B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2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865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.xml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1.xml"/><Relationship Id="rId4" Type="http://schemas.openxmlformats.org/officeDocument/2006/relationships/image" Target="../media/image11.jpe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26890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 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41268031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Box 50"/>
          <p:cNvSpPr txBox="1"/>
          <p:nvPr userDrawn="1"/>
        </p:nvSpPr>
        <p:spPr>
          <a:xfrm>
            <a:off x="803227" y="6303695"/>
            <a:ext cx="5201333" cy="3061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300" b="0" i="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XP CONFIDENTIAL - INTERNAL</a:t>
            </a:r>
          </a:p>
        </p:txBody>
      </p:sp>
      <p:sp>
        <p:nvSpPr>
          <p:cNvPr id="90" name="Text Placeholder 89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97131" y="3244224"/>
            <a:ext cx="8278289" cy="123525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1700" b="0" kern="1200" cap="all" spc="-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  <a:lvl2pPr marL="233363" indent="0">
              <a:buFontTx/>
              <a:buNone/>
              <a:defRPr/>
            </a:lvl2pPr>
            <a:lvl3pPr marL="401638" indent="0">
              <a:buFontTx/>
              <a:buNone/>
              <a:defRPr/>
            </a:lvl3pPr>
            <a:lvl4pPr marL="569912" indent="0">
              <a:buFontTx/>
              <a:buNone/>
              <a:defRPr/>
            </a:lvl4pPr>
            <a:lvl5pPr marL="746125" indent="0">
              <a:buFontTx/>
              <a:buNone/>
              <a:defRPr/>
            </a:lvl5pPr>
          </a:lstStyle>
          <a:p>
            <a:pPr marL="0" lvl="0" indent="0"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charset="0"/>
              <a:buNone/>
            </a:pPr>
            <a:r>
              <a:rPr lang="en-US" dirty="0"/>
              <a:t>Presenter title goes here</a:t>
            </a:r>
          </a:p>
        </p:txBody>
      </p:sp>
      <p:sp>
        <p:nvSpPr>
          <p:cNvPr id="27" name="Rectangle 183"/>
          <p:cNvSpPr>
            <a:spLocks noGrp="1" noChangeArrowheads="1"/>
          </p:cNvSpPr>
          <p:nvPr userDrawn="1">
            <p:ph type="subTitle" idx="1" hasCustomPrompt="1"/>
          </p:nvPr>
        </p:nvSpPr>
        <p:spPr bwMode="blackWhite">
          <a:xfrm>
            <a:off x="797131" y="2802864"/>
            <a:ext cx="8278289" cy="567335"/>
          </a:xfrm>
          <a:prstGeom prst="rect">
            <a:avLst/>
          </a:prstGeom>
          <a:ln w="25400" algn="ctr"/>
          <a:effectLst/>
        </p:spPr>
        <p:txBody>
          <a:bodyPr tIns="0" bIns="91440" anchor="t">
            <a:noAutofit/>
          </a:bodyPr>
          <a:lstStyle>
            <a:lvl1pPr marL="0" indent="0"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Font typeface="Arial" charset="0"/>
              <a:buNone/>
              <a:defRPr lang="en-US" sz="2100" b="0" kern="1200" cap="all" spc="-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28" name="Rectangle 182"/>
          <p:cNvSpPr>
            <a:spLocks noGrp="1" noChangeArrowheads="1"/>
          </p:cNvSpPr>
          <p:nvPr userDrawn="1">
            <p:ph type="ctrTitle" hasCustomPrompt="1"/>
          </p:nvPr>
        </p:nvSpPr>
        <p:spPr bwMode="blackWhite">
          <a:xfrm>
            <a:off x="797131" y="1099022"/>
            <a:ext cx="8278289" cy="1716568"/>
          </a:xfrm>
          <a:ln w="25400"/>
          <a:effectLst/>
        </p:spPr>
        <p:txBody>
          <a:bodyPr tIns="91440" bIns="91440" anchor="b"/>
          <a:lstStyle>
            <a:lvl1pPr algn="l">
              <a:lnSpc>
                <a:spcPts val="4400"/>
              </a:lnSpc>
              <a:spcBef>
                <a:spcPts val="0"/>
              </a:spcBef>
              <a:defRPr lang="en-US" sz="3500" b="1" kern="1200" cap="all" spc="-6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/>
              <a:t>Title goes her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9148910" y="3606800"/>
            <a:ext cx="1715163" cy="1726544"/>
            <a:chOff x="8911235" y="3451974"/>
            <a:chExt cx="1792228" cy="1804120"/>
          </a:xfrm>
        </p:grpSpPr>
        <p:grpSp>
          <p:nvGrpSpPr>
            <p:cNvPr id="70" name="Group 69"/>
            <p:cNvGrpSpPr/>
            <p:nvPr userDrawn="1"/>
          </p:nvGrpSpPr>
          <p:grpSpPr>
            <a:xfrm>
              <a:off x="10039409" y="3451974"/>
              <a:ext cx="664054" cy="664055"/>
              <a:chOff x="2208009" y="539609"/>
              <a:chExt cx="1388962" cy="1388962"/>
            </a:xfrm>
          </p:grpSpPr>
          <p:sp>
            <p:nvSpPr>
              <p:cNvPr id="71" name="Donut 70"/>
              <p:cNvSpPr/>
              <p:nvPr/>
            </p:nvSpPr>
            <p:spPr>
              <a:xfrm>
                <a:off x="2208009" y="539609"/>
                <a:ext cx="1388962" cy="1388962"/>
              </a:xfrm>
              <a:prstGeom prst="donut">
                <a:avLst>
                  <a:gd name="adj" fmla="val 614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72" name="Picture 71"/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0637" y="876720"/>
                <a:ext cx="443707" cy="608580"/>
              </a:xfrm>
              <a:prstGeom prst="rect">
                <a:avLst/>
              </a:prstGeom>
            </p:spPr>
          </p:pic>
        </p:grpSp>
        <p:sp>
          <p:nvSpPr>
            <p:cNvPr id="74" name="Donut 73"/>
            <p:cNvSpPr/>
            <p:nvPr/>
          </p:nvSpPr>
          <p:spPr>
            <a:xfrm>
              <a:off x="8911235" y="4038600"/>
              <a:ext cx="1217494" cy="1217494"/>
            </a:xfrm>
            <a:prstGeom prst="donut">
              <a:avLst>
                <a:gd name="adj" fmla="val 614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4486" y="4318343"/>
              <a:ext cx="685794" cy="653008"/>
            </a:xfrm>
            <a:prstGeom prst="rect">
              <a:avLst/>
            </a:prstGeom>
          </p:spPr>
        </p:pic>
      </p:grpSp>
      <p:grpSp>
        <p:nvGrpSpPr>
          <p:cNvPr id="66" name="Group 65"/>
          <p:cNvGrpSpPr/>
          <p:nvPr userDrawn="1"/>
        </p:nvGrpSpPr>
        <p:grpSpPr>
          <a:xfrm>
            <a:off x="10433524" y="5364280"/>
            <a:ext cx="1388962" cy="1388962"/>
            <a:chOff x="5311127" y="2171639"/>
            <a:chExt cx="1388962" cy="1388962"/>
          </a:xfrm>
        </p:grpSpPr>
        <p:sp>
          <p:nvSpPr>
            <p:cNvPr id="67" name="Donut 116"/>
            <p:cNvSpPr/>
            <p:nvPr userDrawn="1"/>
          </p:nvSpPr>
          <p:spPr>
            <a:xfrm>
              <a:off x="5311127" y="2171639"/>
              <a:ext cx="1388962" cy="1388962"/>
            </a:xfrm>
            <a:prstGeom prst="donut">
              <a:avLst>
                <a:gd name="adj" fmla="val 614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5745" y="2455620"/>
              <a:ext cx="399726" cy="769740"/>
            </a:xfrm>
            <a:prstGeom prst="rect">
              <a:avLst/>
            </a:prstGeom>
          </p:spPr>
        </p:pic>
      </p:grpSp>
      <p:pic>
        <p:nvPicPr>
          <p:cNvPr id="16" name="Picture 15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F32FC388-0754-4AF1-B4F0-6A1ECC6C3C7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1814" y="5758978"/>
            <a:ext cx="5677045" cy="9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43194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00" y="0"/>
            <a:ext cx="1222080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25D9DC-9D6B-46FF-92E3-29DDE6EF4904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277020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hutterstock_70010230.jpg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405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6EE1B1-A17B-456F-A4B9-6AF87E4F6F83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8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1320325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7400"/>
            <a:ext cx="12192000" cy="689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425697" y="2996952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35376" y="4543934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06F5BD-D828-45A9-8856-1A1BDE02795E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60338362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shutterstock_28415320_edited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"/>
          <a:stretch/>
        </p:blipFill>
        <p:spPr>
          <a:xfrm>
            <a:off x="-14400" y="-8098"/>
            <a:ext cx="12220800" cy="6874199"/>
          </a:xfrm>
          <a:prstGeom prst="rect">
            <a:avLst/>
          </a:prstGeom>
        </p:spPr>
      </p:pic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7056107" y="2459039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615517" y="3997190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53E2AC4-E7D9-4757-875A-D20D588736A6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0252041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4400" y="-8100"/>
            <a:ext cx="12220800" cy="687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E5D0E0-5E5F-401D-AD05-A82E0539BF53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20" name="Title 3"/>
          <p:cNvSpPr>
            <a:spLocks noGrp="1"/>
          </p:cNvSpPr>
          <p:nvPr>
            <p:ph type="title" hasCustomPrompt="1"/>
          </p:nvPr>
        </p:nvSpPr>
        <p:spPr>
          <a:xfrm>
            <a:off x="425697" y="2996952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35376" y="4543934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842599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hina_AtWork_2282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00" y="-8100"/>
            <a:ext cx="12220800" cy="68742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358896-A66A-4D9B-B55A-F8619B76AFBA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9302485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J:\Europe BV\NXP\CREATIVE ASSETS\Image Library\Hamburg\Hamburg_AtWork_HR\Hamburg_AtWork_882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2220800" cy="6865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2F8A39-70D6-47EC-88BD-2FC5C566AD35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6111227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J:\Europe BV\NXP\CREATIVE ASSETS\Image Library\China\China_AtWork_HR\China_AtWork_352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0916" y="1"/>
            <a:ext cx="12220800" cy="686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309F21-8540-4621-9EEE-7D1C11ECAC93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0832967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4400" y="-8100"/>
            <a:ext cx="12220800" cy="687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6672064" y="90872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681743" y="2448888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A28EADA-35F1-419C-9660-6637D3999CE0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71024631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00" y="-24011"/>
            <a:ext cx="12220800" cy="6906025"/>
          </a:xfrm>
          <a:prstGeom prst="rect">
            <a:avLst/>
          </a:prstGeom>
        </p:spPr>
      </p:pic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389847" y="206084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9526" y="3601016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07BFD9-7AD0-4D27-9FFE-7138C8BB9C8C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813034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4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5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2" y="1074188"/>
            <a:ext cx="5847277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5"/>
          <p:cNvSpPr>
            <a:spLocks noGrp="1"/>
          </p:cNvSpPr>
          <p:nvPr>
            <p:ph type="body" sz="quarter" idx="11"/>
          </p:nvPr>
        </p:nvSpPr>
        <p:spPr>
          <a:xfrm>
            <a:off x="6115268" y="1074188"/>
            <a:ext cx="5847277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8543766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00" y="-8100"/>
            <a:ext cx="12220800" cy="68742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F6131CA-DA79-429C-87E3-6AA4F16DDFA5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389847" y="206084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9526" y="3601016"/>
            <a:ext cx="5180141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048265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8099"/>
            <a:ext cx="12206400" cy="687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A8B88C-37E3-45E4-8EE1-427D0334E5A9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173472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4400" y="-8100"/>
            <a:ext cx="12220800" cy="687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3CC3FF-A9C8-4217-96DD-62DEC978D6B8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2007810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03"/>
          <a:stretch/>
        </p:blipFill>
        <p:spPr>
          <a:xfrm>
            <a:off x="-14400" y="2"/>
            <a:ext cx="12220800" cy="6857999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86197" y="3342593"/>
            <a:ext cx="7920203" cy="5909311"/>
          </a:xfrm>
          <a:solidFill>
            <a:srgbClr val="FBB11C">
              <a:alpha val="70000"/>
            </a:srgbClr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lang="en-GB" sz="96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-14400" y="-4041094"/>
            <a:ext cx="7515987" cy="7386638"/>
          </a:xfrm>
          <a:solidFill>
            <a:srgbClr val="FBB11C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lang="en-GB" sz="9600" kern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pPr marL="0" lvl="0" algn="r" defTabSz="1219170" latinLnBrk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836181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0"/>
          <a:stretch/>
        </p:blipFill>
        <p:spPr>
          <a:xfrm>
            <a:off x="-14400" y="2"/>
            <a:ext cx="12220800" cy="6857997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86197" y="3342593"/>
            <a:ext cx="7920203" cy="5909311"/>
          </a:xfrm>
          <a:solidFill>
            <a:srgbClr val="D0D428">
              <a:alpha val="70000"/>
            </a:srgbClr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lang="en-GB" sz="96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-14400" y="-4041094"/>
            <a:ext cx="7515987" cy="7386638"/>
          </a:xfrm>
          <a:solidFill>
            <a:srgbClr val="D0D428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lang="en-GB" sz="9600" kern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pPr marL="0" lvl="0" algn="r" defTabSz="1219170" latinLnBrk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808164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hoto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J:\Europe BV\NXP\CREATIVE ASSETS\Image Library\China\China_AtWork_HR\China_AtWork_219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4400" y="1"/>
            <a:ext cx="122208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86197" y="3342593"/>
            <a:ext cx="7920203" cy="5909311"/>
          </a:xfrm>
          <a:solidFill>
            <a:srgbClr val="7BB1DB">
              <a:alpha val="70000"/>
            </a:srgbClr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lang="en-GB" sz="96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-14400" y="-4043585"/>
            <a:ext cx="7516800" cy="7386638"/>
          </a:xfrm>
          <a:solidFill>
            <a:srgbClr val="7BB1DB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lang="en-GB" sz="9600" kern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pPr marL="0" lvl="0" algn="r" defTabSz="1219170" latinLnBrk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79002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mburg_AtWork_9830.jpg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399" y="0"/>
            <a:ext cx="12222788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88185" y="3342593"/>
            <a:ext cx="7920203" cy="5909311"/>
          </a:xfrm>
          <a:solidFill>
            <a:srgbClr val="FBB11C">
              <a:alpha val="70000"/>
            </a:srgbClr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lang="en-GB" sz="96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-14400" y="-4041600"/>
            <a:ext cx="7516800" cy="7386637"/>
          </a:xfrm>
          <a:solidFill>
            <a:srgbClr val="FBB11C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lang="en-GB" sz="960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pPr lvl="0" algn="r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64389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Pr>
        <a:solidFill>
          <a:srgbClr val="00BA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0075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solidFill>
          <a:srgbClr val="D54E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946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solidFill>
          <a:srgbClr val="34AC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085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6074413" y="1007745"/>
            <a:ext cx="5847080" cy="654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6074411" y="1724429"/>
            <a:ext cx="5847080" cy="44503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651500" cy="68834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651500" cy="68580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939071794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rgbClr val="FBB1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5099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5">
    <p:bg>
      <p:bgPr>
        <a:solidFill>
          <a:srgbClr val="537F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14268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6">
    <p:bg>
      <p:bgPr>
        <a:solidFill>
          <a:srgbClr val="549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88514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XP_Closing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8279" y="7506"/>
            <a:ext cx="8135443" cy="6842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4545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12"/>
          <p:cNvSpPr>
            <a:spLocks noGrp="1"/>
          </p:cNvSpPr>
          <p:nvPr>
            <p:ph type="dt" sz="half" idx="2"/>
          </p:nvPr>
        </p:nvSpPr>
        <p:spPr>
          <a:xfrm>
            <a:off x="692040" y="6303694"/>
            <a:ext cx="1825687" cy="3087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1300" b="0" i="0" kern="1200" cap="non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</a:lstStyle>
          <a:p>
            <a:fld id="{3BDFDD5F-E85B-4DA3-A4F9-9CF3C7409943}" type="datetime4">
              <a:rPr lang="en-US" smtClean="0"/>
              <a:pPr/>
              <a:t>May 10, 2019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630369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27507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3544733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4" y="1019920"/>
            <a:ext cx="11663021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850228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3" y="1074189"/>
            <a:ext cx="5847277" cy="4667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5"/>
          <p:cNvSpPr>
            <a:spLocks noGrp="1"/>
          </p:cNvSpPr>
          <p:nvPr>
            <p:ph type="body" sz="quarter" idx="11"/>
          </p:nvPr>
        </p:nvSpPr>
        <p:spPr>
          <a:xfrm>
            <a:off x="6115268" y="1074189"/>
            <a:ext cx="5847277" cy="4667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15704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4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3" y="1019916"/>
            <a:ext cx="11663021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511041" y="6502177"/>
            <a:ext cx="4959531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en-US" sz="1200" b="0" i="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XP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1488309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Título"/>
          <p:cNvSpPr>
            <a:spLocks noGrp="1"/>
          </p:cNvSpPr>
          <p:nvPr>
            <p:ph type="title"/>
          </p:nvPr>
        </p:nvSpPr>
        <p:spPr>
          <a:xfrm>
            <a:off x="527381" y="356660"/>
            <a:ext cx="11329259" cy="768085"/>
          </a:xfrm>
        </p:spPr>
        <p:txBody>
          <a:bodyPr wrap="square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527381" y="1411820"/>
            <a:ext cx="11329259" cy="4512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7414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7511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900" smtClean="0">
                <a:solidFill>
                  <a:srgbClr val="000000"/>
                </a:solidFill>
              </a:defRPr>
            </a:lvl1pPr>
          </a:lstStyle>
          <a:p>
            <a:fld id="{9E2AA4D1-8EE3-4126-8406-1499F4AD3D18}" type="datetime4">
              <a:rPr lang="en-US" smtClean="0"/>
              <a:t>May 10, 2019</a:t>
            </a:fld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543605" y="6387813"/>
            <a:ext cx="2016224" cy="1384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641228" y="6495440"/>
            <a:ext cx="2841310" cy="3473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l"/>
            <a:r>
              <a:rPr lang="en-US" sz="1300" b="0" i="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XP CONFIDENTIAL - INTERNAL</a:t>
            </a:r>
          </a:p>
        </p:txBody>
      </p:sp>
    </p:spTree>
    <p:extLst>
      <p:ext uri="{BB962C8B-B14F-4D97-AF65-F5344CB8AC3E}">
        <p14:creationId xmlns:p14="http://schemas.microsoft.com/office/powerpoint/2010/main" val="64187856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26890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 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4545967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12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565352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999648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12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565352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16499454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7893840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641228" y="6495440"/>
            <a:ext cx="2841310" cy="3473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l"/>
            <a:r>
              <a:rPr lang="en-US" sz="1300" b="0" i="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XP CONFIDENTIAL - INTERNAL</a:t>
            </a:r>
          </a:p>
        </p:txBody>
      </p:sp>
    </p:spTree>
    <p:extLst>
      <p:ext uri="{BB962C8B-B14F-4D97-AF65-F5344CB8AC3E}">
        <p14:creationId xmlns:p14="http://schemas.microsoft.com/office/powerpoint/2010/main" val="339426411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4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8628532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3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16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4630103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32986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38964460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45178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7822399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23893188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268907" cy="184667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 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37152293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5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80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5CB946-52EC-46EC-9B8F-A48229330B13}" type="datetime4">
              <a:rPr lang="en-US" smtClean="0">
                <a:solidFill>
                  <a:srgbClr val="FFFFFF"/>
                </a:solidFill>
              </a:rPr>
              <a:pPr/>
              <a:t>May 10,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>
                <a:solidFill>
                  <a:srgbClr val="FFFFFF"/>
                </a:solidFill>
              </a:rPr>
              <a:t>COMPANY CONFIDENTIAL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r>
              <a:rPr lang="en-GB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453230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8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12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565352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953968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95427466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4709732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098259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4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4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292565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4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4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16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6546105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3" y="1484315"/>
            <a:ext cx="11425767" cy="4321175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329867" cy="184667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13704815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3" y="1484315"/>
            <a:ext cx="11425767" cy="4321175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451787" cy="184667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6791061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9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2" y="5837861"/>
            <a:ext cx="6500540" cy="855088"/>
          </a:xfrm>
          <a:prstGeom prst="rect">
            <a:avLst/>
          </a:prstGeom>
        </p:spPr>
      </p:pic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6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95815775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76225"/>
            <a:ext cx="11663021" cy="6540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77311972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26890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 </a:t>
            </a:r>
            <a:endParaRPr lang="en-GB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8647273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5CB946-52EC-46EC-9B8F-A48229330B13}" type="datetime4">
              <a:rPr lang="en-US" smtClean="0"/>
              <a:t>May 10, 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CONFIDENTIA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31326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7097438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12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565352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3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13563745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12881186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9988252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4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7566927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3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16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0608832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32986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/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0530820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45178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/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25907737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888411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FSL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069073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4" y="1019918"/>
            <a:ext cx="11663021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270795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4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8749543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5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3" y="1074190"/>
            <a:ext cx="5847277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5"/>
          <p:cNvSpPr>
            <a:spLocks noGrp="1"/>
          </p:cNvSpPr>
          <p:nvPr>
            <p:ph type="body" sz="quarter" idx="11"/>
          </p:nvPr>
        </p:nvSpPr>
        <p:spPr>
          <a:xfrm>
            <a:off x="6115268" y="1074190"/>
            <a:ext cx="5847277" cy="46672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010836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7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299523" y="1785389"/>
            <a:ext cx="5847277" cy="39550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45"/>
          <p:cNvSpPr>
            <a:spLocks noGrp="1"/>
          </p:cNvSpPr>
          <p:nvPr>
            <p:ph type="body" sz="quarter" idx="11"/>
          </p:nvPr>
        </p:nvSpPr>
        <p:spPr>
          <a:xfrm>
            <a:off x="6115268" y="1785389"/>
            <a:ext cx="5847277" cy="39550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12"/>
          </p:nvPr>
        </p:nvSpPr>
        <p:spPr>
          <a:xfrm>
            <a:off x="300038" y="1117600"/>
            <a:ext cx="5815231" cy="6604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200" b="1"/>
            </a:lvl1pPr>
            <a:lvl2pPr marL="175022" indent="0">
              <a:buFontTx/>
              <a:buNone/>
              <a:defRPr/>
            </a:lvl2pPr>
            <a:lvl3pPr marL="301229" indent="0">
              <a:buFontTx/>
              <a:buNone/>
              <a:defRPr/>
            </a:lvl3pPr>
            <a:lvl4pPr marL="427434" indent="0">
              <a:buFontTx/>
              <a:buNone/>
              <a:defRPr/>
            </a:lvl4pPr>
            <a:lvl5pPr marL="559594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6146800" y="1117600"/>
            <a:ext cx="5815747" cy="6604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200" b="1"/>
            </a:lvl1pPr>
            <a:lvl2pPr marL="175022" indent="0">
              <a:buFontTx/>
              <a:buNone/>
              <a:defRPr/>
            </a:lvl2pPr>
            <a:lvl3pPr marL="301229" indent="0">
              <a:buFontTx/>
              <a:buNone/>
              <a:defRPr/>
            </a:lvl3pPr>
            <a:lvl4pPr marL="427434" indent="0">
              <a:buFontTx/>
              <a:buNone/>
              <a:defRPr/>
            </a:lvl4pPr>
            <a:lvl5pPr marL="559594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5558589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5994403" y="276225"/>
            <a:ext cx="5968143" cy="654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0"/>
          </p:nvPr>
        </p:nvSpPr>
        <p:spPr>
          <a:xfrm>
            <a:off x="5994402" y="1290089"/>
            <a:ext cx="5968143" cy="44503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12"/>
          <p:cNvSpPr>
            <a:spLocks noGrp="1"/>
          </p:cNvSpPr>
          <p:nvPr>
            <p:ph type="dt" sz="half" idx="2"/>
          </p:nvPr>
        </p:nvSpPr>
        <p:spPr>
          <a:xfrm>
            <a:off x="692042" y="6303696"/>
            <a:ext cx="1825687" cy="3087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975" b="0" i="0" kern="1200" cap="non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</a:lstStyle>
          <a:p>
            <a:fld id="{3BDFDD5F-E85B-4DA3-A4F9-9CF3C7409943}" type="datetime4"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May 10, 2019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" y="0"/>
            <a:ext cx="5651500" cy="68834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5651500" cy="68580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600064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19752289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444626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sz="quarter" idx="10" hasCustomPrompt="1"/>
          </p:nvPr>
        </p:nvSpPr>
        <p:spPr>
          <a:xfrm>
            <a:off x="299524" y="1117600"/>
            <a:ext cx="11663021" cy="4292600"/>
          </a:xfrm>
        </p:spPr>
        <p:txBody>
          <a:bodyPr anchor="ctr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to Add Table</a:t>
            </a:r>
          </a:p>
        </p:txBody>
      </p:sp>
    </p:spTree>
    <p:extLst>
      <p:ext uri="{BB962C8B-B14F-4D97-AF65-F5344CB8AC3E}">
        <p14:creationId xmlns:p14="http://schemas.microsoft.com/office/powerpoint/2010/main" val="774808597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0" hasCustomPrompt="1"/>
          </p:nvPr>
        </p:nvSpPr>
        <p:spPr>
          <a:xfrm>
            <a:off x="299524" y="1117600"/>
            <a:ext cx="11663021" cy="4292600"/>
          </a:xfrm>
        </p:spPr>
        <p:txBody>
          <a:bodyPr anchor="ctr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to Add Chart</a:t>
            </a:r>
          </a:p>
        </p:txBody>
      </p:sp>
      <p:sp>
        <p:nvSpPr>
          <p:cNvPr id="44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299524" y="280716"/>
            <a:ext cx="11663021" cy="6540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06497660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SMC Leadership Call – December 2015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ADA5A-16D3-48CF-BD69-C24CEE5A380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r>
              <a:rPr lang="en-GB">
                <a:solidFill>
                  <a:srgbClr val="000000"/>
                </a:solidFill>
              </a:rPr>
              <a:t>.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641228" y="6495440"/>
            <a:ext cx="2841310" cy="3473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l"/>
            <a:r>
              <a:rPr lang="en-US" sz="1300" b="0" i="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XP CONFIDENTIAL - INTERNAL</a:t>
            </a:r>
          </a:p>
        </p:txBody>
      </p:sp>
    </p:spTree>
    <p:extLst>
      <p:ext uri="{BB962C8B-B14F-4D97-AF65-F5344CB8AC3E}">
        <p14:creationId xmlns:p14="http://schemas.microsoft.com/office/powerpoint/2010/main" val="272749432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en-US">
                <a:solidFill>
                  <a:srgbClr val="FFFFFF"/>
                </a:solidFill>
              </a:rPr>
              <a:t>SMC Leadership Call – December 2015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r>
              <a:rPr lang="en-GB">
                <a:solidFill>
                  <a:srgbClr val="FFFFFF"/>
                </a:solidFill>
              </a:rPr>
              <a:t>.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284463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731490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3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16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0034501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strip `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hristian.schwampe\Desktop\PPT_bar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293096"/>
            <a:ext cx="12192000" cy="107996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19507" y="2059133"/>
            <a:ext cx="4416491" cy="950505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431371" y="1052032"/>
            <a:ext cx="5088136" cy="87818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3023658" y="2904757"/>
            <a:ext cx="2495849" cy="1097280"/>
          </a:xfrm>
        </p:spPr>
        <p:txBody>
          <a:bodyPr/>
          <a:lstStyle>
            <a:lvl1pPr marL="0" indent="0" algn="r">
              <a:lnSpc>
                <a:spcPct val="80000"/>
              </a:lnSpc>
              <a:buFontTx/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27381" y="6374184"/>
            <a:ext cx="3360000" cy="152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wrap="none" lIns="48000" tIns="0" rIns="0" bIns="0" anchor="ctr" anchorCtr="0"/>
          <a:lstStyle/>
          <a:p>
            <a:pPr algn="l">
              <a:defRPr/>
            </a:pPr>
            <a:r>
              <a:rPr lang="nl-NL" sz="1200" noProof="1">
                <a:solidFill>
                  <a:schemeClr val="bg1"/>
                </a:solidFill>
              </a:rPr>
              <a:t>COMPANY CONFIDENTIAL</a:t>
            </a:r>
            <a:endParaRPr lang="en-US" sz="1200" noProof="1">
              <a:solidFill>
                <a:schemeClr val="bg1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026391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26890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 </a:t>
            </a:r>
            <a:endParaRPr lang="en-GB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766615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5CB946-52EC-46EC-9B8F-A48229330B13}" type="datetime4">
              <a:rPr lang="en-US" smtClean="0"/>
              <a:t>May 10, 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CONFIDENTIA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88232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12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565352" y="0"/>
            <a:ext cx="5615517" cy="68580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3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33867066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920186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6205440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3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4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97467124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3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16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6905176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32986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/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72758591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45178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/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0331295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32986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18241022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28628152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Pr>
        <a:solidFill>
          <a:srgbClr val="00BA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6958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solidFill>
          <a:srgbClr val="D54E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0151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solidFill>
          <a:srgbClr val="34AC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3000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rgbClr val="FBB1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2039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5">
    <p:bg>
      <p:bgPr>
        <a:solidFill>
          <a:srgbClr val="537F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9026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6">
    <p:bg>
      <p:bgPr>
        <a:solidFill>
          <a:srgbClr val="549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6824" y="1887676"/>
            <a:ext cx="9695720" cy="3077765"/>
          </a:xfrm>
        </p:spPr>
        <p:txBody>
          <a:bodyPr anchor="ctr"/>
          <a:lstStyle>
            <a:lvl1pPr algn="ctr">
              <a:defRPr sz="80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0828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strip `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19507" y="2059133"/>
            <a:ext cx="4416491" cy="950505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431371" y="1052032"/>
            <a:ext cx="5088136" cy="87818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3023658" y="2904757"/>
            <a:ext cx="2495849" cy="1097280"/>
          </a:xfrm>
        </p:spPr>
        <p:txBody>
          <a:bodyPr/>
          <a:lstStyle>
            <a:lvl1pPr marL="0" indent="0" algn="r">
              <a:lnSpc>
                <a:spcPct val="80000"/>
              </a:lnSpc>
              <a:buFontTx/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>
            <p:extLst/>
          </p:nvPr>
        </p:nvGraphicFramePr>
        <p:xfrm>
          <a:off x="3791744" y="4725144"/>
          <a:ext cx="4800533" cy="627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00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27888">
                <a:tc>
                  <a:txBody>
                    <a:bodyPr/>
                    <a:lstStyle/>
                    <a:p>
                      <a:r>
                        <a:rPr lang="en-US" sz="1700" b="1" kern="1200" spc="-30" baseline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VER PAGE SUBTITLE PLACEHOLDER</a:t>
                      </a:r>
                      <a:endParaRPr lang="en-GB" sz="1700" b="1" kern="1200" spc="-30" baseline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54864" marB="5486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 Box 9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27381" y="6374184"/>
            <a:ext cx="3360000" cy="152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wrap="none" lIns="48000" tIns="0" rIns="0" bIns="0" anchor="ctr" anchorCtr="0"/>
          <a:lstStyle/>
          <a:p>
            <a:pPr algn="l">
              <a:defRPr/>
            </a:pPr>
            <a:r>
              <a:rPr lang="nl-NL" sz="1200" noProof="1">
                <a:solidFill>
                  <a:schemeClr val="bg1"/>
                </a:solidFill>
              </a:rPr>
              <a:t>COMPANY CONFIDENTIAL</a:t>
            </a:r>
            <a:endParaRPr lang="en-US" sz="1200" noProof="1">
              <a:solidFill>
                <a:schemeClr val="bg1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pic>
        <p:nvPicPr>
          <p:cNvPr id="12" name="Picture 11" descr="photostrip2.jpg"/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93096"/>
            <a:ext cx="12192000" cy="109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215329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2A8BD-1EEF-44A3-9DC2-5A2E8647C3B0}" type="datetime4">
              <a:rPr lang="en-US" smtClean="0"/>
              <a:t>May 10, 2019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23686624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J:\Europe BV\NXP\CREATIVE ASSETS\Image Library\China\China_AtWork_HR\China_AtWork_1592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-3316"/>
            <a:ext cx="5615517" cy="685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Date Placeholder 2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9DE28A-E9C1-49B7-A8F5-57D927C3F7C3}" type="datetime4">
              <a:rPr lang="en-US" smtClean="0"/>
              <a:t>May 10, 20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2F11E7-6604-4558-BB4B-0A43A11F76BF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6713265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4"/>
            <a:ext cx="3451787" cy="184666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 – INTERNAL USE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814838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03"/>
          <a:stretch/>
        </p:blipFill>
        <p:spPr>
          <a:xfrm>
            <a:off x="0" y="0"/>
            <a:ext cx="56136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177B13-D399-4268-81DD-0735BF23D9C2}" type="datetime4">
              <a:rPr lang="en-US" smtClean="0"/>
              <a:t>May 10, 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27907094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561551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44C6776-8FAC-4FDF-BCBE-FA79972BA58C}" type="datetime4">
              <a:rPr lang="en-US" smtClean="0"/>
              <a:t>May 10, 2019</a:t>
            </a:fld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03815516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9"/>
          <a:stretch/>
        </p:blipFill>
        <p:spPr bwMode="auto">
          <a:xfrm>
            <a:off x="0" y="64"/>
            <a:ext cx="5613864" cy="6857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3CC8E12-4418-4F8F-864B-58460BE10025}" type="datetime4">
              <a:rPr lang="en-US" smtClean="0"/>
              <a:t>May 10, 2019</a:t>
            </a:fld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25733123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"/>
            <a:ext cx="5615517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F6863-4571-4A32-BE10-C47502A08131}" type="datetime4">
              <a:rPr lang="en-US" smtClean="0"/>
              <a:t>May 10, 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1853520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2423" y="27464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397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1551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AD8A92-0ECB-4956-9092-934AD38598E2}" type="datetime4">
              <a:rPr lang="en-US" smtClean="0"/>
              <a:t>May 10, 2019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4595355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J:\Europe BV\NXP\CREATIVE ASSETS\Image Library\Philippines\Philippines_AtWork_HR\Philippines_AtWork_4973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76483" y="0"/>
            <a:ext cx="5617004" cy="685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534" y="335600"/>
            <a:ext cx="6060231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E8A27-035B-4751-95AC-2D738B202418}" type="datetime4">
              <a:rPr lang="en-US" smtClean="0"/>
              <a:t>May 10, 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60661764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76482" y="0"/>
            <a:ext cx="5615519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92DB5C-0B3F-45AD-AE67-0F9CF1DF1A7F}" type="datetime4">
              <a:rPr lang="en-US" smtClean="0"/>
              <a:t>May 10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84724330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76484" y="1"/>
            <a:ext cx="561551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540F2CA-0B44-431D-B5E1-75B5CEFBDB9C}" type="datetime4">
              <a:rPr lang="en-US" smtClean="0"/>
              <a:t>May 10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48119256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29"/>
          <a:stretch/>
        </p:blipFill>
        <p:spPr bwMode="auto">
          <a:xfrm>
            <a:off x="6571939" y="0"/>
            <a:ext cx="562731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CCB4B50-F67D-4E94-94AA-A7EA4A1B67A5}" type="datetime4">
              <a:rPr lang="en-US" smtClean="0"/>
              <a:t>May 10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5673667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J:\Europe BV\NXP\CREATIVE ASSETS\Image Library\Philippines\Philippines_AtWork_HR\Philippines_AtWork_4969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8"/>
          <a:stretch/>
        </p:blipFill>
        <p:spPr bwMode="auto">
          <a:xfrm>
            <a:off x="6576485" y="0"/>
            <a:ext cx="5616756" cy="685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42929" y="1554127"/>
            <a:ext cx="6024299" cy="4270940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187" y="339727"/>
            <a:ext cx="604485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E3FCC8E-C15B-426E-AD50-7FEA9B8262A8}" type="datetime4">
              <a:rPr lang="en-US" smtClean="0"/>
              <a:t>May 10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55397854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79"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815413" y="6346225"/>
            <a:ext cx="2016224" cy="184665"/>
          </a:xfrm>
        </p:spPr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349581" y="6346224"/>
            <a:ext cx="412419" cy="151200"/>
          </a:xfrm>
        </p:spPr>
        <p:txBody>
          <a:bodyPr/>
          <a:lstStyle/>
          <a:p>
            <a:fld id="{51AADA5A-16D3-48CF-BD69-C24CEE5A380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r>
              <a:rPr lang="en-GB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02307834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B0274-0C8C-4EF9-B97C-661388A5D24F}" type="datetime4">
              <a:rPr lang="en-US" smtClean="0"/>
              <a:t>May 10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6881767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4F41B1-5AB0-4539-AA3D-D7DE3F58165E}" type="datetime4">
              <a:rPr lang="en-US" smtClean="0"/>
              <a:t>May 10, 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27537792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1411819"/>
            <a:ext cx="5183717" cy="4610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A362321-CEC1-4A57-A5CA-0F64D258CA57}" type="datetime4">
              <a:rPr lang="en-US" smtClean="0"/>
              <a:t>May 10, 2019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2489475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31800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6642443" y="2001520"/>
            <a:ext cx="5183717" cy="4020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632283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1800" y="1300059"/>
            <a:ext cx="5183717" cy="6731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667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D0C0053-00E5-4848-9AB6-B61FD74DB5B5}" type="datetime4">
              <a:rPr lang="en-US" smtClean="0"/>
              <a:t>May 10, 2019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84444910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452EDA6-CBE3-4629-9A71-07543010D9FB}" type="datetime4">
              <a:rPr lang="en-US" smtClean="0"/>
              <a:t>May 10, 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25690609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431802" y="1484314"/>
            <a:ext cx="11425767" cy="4321175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DC452D-B57E-400A-A543-16C688440885}" type="datetime4">
              <a:rPr lang="en-US" smtClean="0"/>
              <a:t>May 10, 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9639727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stri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19507" y="2059133"/>
            <a:ext cx="4416491" cy="950505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431371" y="1052032"/>
            <a:ext cx="5088136" cy="87818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3023658" y="2904757"/>
            <a:ext cx="2495849" cy="1097280"/>
          </a:xfrm>
        </p:spPr>
        <p:txBody>
          <a:bodyPr/>
          <a:lstStyle>
            <a:lvl1pPr marL="0" indent="0" algn="r">
              <a:lnSpc>
                <a:spcPct val="80000"/>
              </a:lnSpc>
              <a:buFontTx/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>
            <p:extLst/>
          </p:nvPr>
        </p:nvGraphicFramePr>
        <p:xfrm>
          <a:off x="3791744" y="4725144"/>
          <a:ext cx="4800533" cy="627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00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27888">
                <a:tc>
                  <a:txBody>
                    <a:bodyPr/>
                    <a:lstStyle/>
                    <a:p>
                      <a:r>
                        <a:rPr lang="en-US" sz="1700" b="1" kern="1200" spc="-30" baseline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VER PAGE SUBTITLE PLACEHOLDER</a:t>
                      </a:r>
                      <a:endParaRPr lang="en-GB" sz="1700" b="1" kern="1200" spc="-30" baseline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54864" marB="5486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773A90C-3612-4096-BC55-16E9FAB1B2F8}" type="datetime4">
              <a:rPr lang="en-US" smtClean="0"/>
              <a:t>May 10, 2019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4291200"/>
            <a:ext cx="12180916" cy="975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144152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7"/>
          <a:stretch/>
        </p:blipFill>
        <p:spPr>
          <a:xfrm flipH="1">
            <a:off x="-14400" y="0"/>
            <a:ext cx="12220800" cy="6858000"/>
          </a:xfrm>
          <a:prstGeom prst="rect">
            <a:avLst/>
          </a:prstGeom>
        </p:spPr>
      </p:pic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93B1E3-72DE-4B2C-B5D1-E1450925944C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89048119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4400" y="-8550"/>
            <a:ext cx="12220800" cy="6875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FF747F-B74B-4A14-B466-82F79A5C5977}" type="datetime4">
              <a:rPr lang="en-US" smtClean="0"/>
              <a:t>May 10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815413" y="3236980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51" y="4761258"/>
            <a:ext cx="6624340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452954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00" y="0"/>
            <a:ext cx="12220800" cy="6858000"/>
          </a:xfrm>
          <a:prstGeom prst="rect">
            <a:avLst/>
          </a:prstGeom>
        </p:spPr>
      </p:pic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756491" y="620688"/>
            <a:ext cx="3755331" cy="8985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04322" y="2159414"/>
            <a:ext cx="5291679" cy="48005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1461" y="5837861"/>
            <a:ext cx="6500540" cy="855088"/>
          </a:xfrm>
          <a:prstGeom prst="rect">
            <a:avLst/>
          </a:prstGeom>
        </p:spPr>
      </p:pic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D05B5D-2B14-4881-913E-BB81AF32F8F1}" type="datetime4">
              <a:rPr lang="en-US" smtClean="0"/>
              <a:t>May 10, 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>
              <a:defRPr/>
            </a:pPr>
            <a:r>
              <a:rPr lang="nl-NL" noProof="1"/>
              <a:t>COMPANY INTERNA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6565619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9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42" Type="http://schemas.openxmlformats.org/officeDocument/2006/relationships/slideLayout" Target="../slideLayouts/slideLayout118.xml"/><Relationship Id="rId47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slideLayout" Target="../slideLayouts/slideLayout113.xml"/><Relationship Id="rId40" Type="http://schemas.openxmlformats.org/officeDocument/2006/relationships/slideLayout" Target="../slideLayouts/slideLayout116.xml"/><Relationship Id="rId45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slideLayout" Target="../slideLayouts/slideLayout112.xml"/><Relationship Id="rId49" Type="http://schemas.openxmlformats.org/officeDocument/2006/relationships/image" Target="../media/image9.png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4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slideLayout" Target="../slideLayouts/slideLayout111.xml"/><Relationship Id="rId43" Type="http://schemas.openxmlformats.org/officeDocument/2006/relationships/slideLayout" Target="../slideLayouts/slideLayout119.xml"/><Relationship Id="rId48" Type="http://schemas.openxmlformats.org/officeDocument/2006/relationships/theme" Target="../theme/theme11.xml"/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38" Type="http://schemas.openxmlformats.org/officeDocument/2006/relationships/slideLayout" Target="../slideLayouts/slideLayout114.xml"/><Relationship Id="rId4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96.xml"/><Relationship Id="rId41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vmlDrawing" Target="../drawings/vmlDrawing1.v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theme" Target="../theme/theme8.x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7.emf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1AADA5A-16D3-48CF-BD69-C24CEE5A3803}" type="slidenum">
              <a:rPr lang="en-GB" smtClean="0">
                <a:solidFill>
                  <a:prstClr val="black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GB">
                <a:solidFill>
                  <a:prstClr val="black"/>
                </a:solidFill>
                <a:latin typeface="Calibri"/>
              </a:rPr>
              <a:t>.</a:t>
            </a:r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7CA4483-4914-4392-95AD-5789BF0EF72C}" type="datetime4">
              <a:rPr lang="en-US" smtClean="0"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May 10, 2019</a:t>
            </a:fld>
            <a:endParaRPr lang="en-US" dirty="0">
              <a:latin typeface="Calibri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6"/>
            <a:ext cx="2016224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l-NL" noProof="1">
                <a:solidFill>
                  <a:srgbClr val="000000"/>
                </a:solidFill>
                <a:latin typeface="Calibri"/>
              </a:rPr>
              <a:t>COMPANY CONFIDENTIAL</a:t>
            </a:r>
            <a:endParaRPr lang="en-GB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2042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4088" r:id="rId10"/>
    <p:sldLayoutId id="2147484050" r:id="rId11"/>
    <p:sldLayoutId id="2147484052" r:id="rId12"/>
    <p:sldLayoutId id="2147484053" r:id="rId13"/>
    <p:sldLayoutId id="2147484060" r:id="rId14"/>
    <p:sldLayoutId id="2147484063" r:id="rId15"/>
    <p:sldLayoutId id="2147484248" r:id="rId16"/>
    <p:sldLayoutId id="2147484266" r:id="rId17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fld id="{87CA4483-4914-4392-95AD-5789BF0EF72C}" type="datetime4">
              <a:rPr lang="en-US" smtClean="0"/>
              <a:t>May 10, 2019</a:t>
            </a:fld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7"/>
            <a:ext cx="2016224" cy="184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8171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1" r:id="rId2"/>
    <p:sldLayoutId id="2147484152" r:id="rId3"/>
    <p:sldLayoutId id="2147484153" r:id="rId4"/>
    <p:sldLayoutId id="2147484154" r:id="rId5"/>
    <p:sldLayoutId id="2147484155" r:id="rId6"/>
    <p:sldLayoutId id="2147484156" r:id="rId7"/>
    <p:sldLayoutId id="2147484157" r:id="rId8"/>
    <p:sldLayoutId id="2147484158" r:id="rId9"/>
    <p:sldLayoutId id="2147484159" r:id="rId10"/>
    <p:sldLayoutId id="2147484160" r:id="rId11"/>
    <p:sldLayoutId id="2147484161" r:id="rId12"/>
    <p:sldLayoutId id="2147484162" r:id="rId13"/>
    <p:sldLayoutId id="2147484163" r:id="rId14"/>
    <p:sldLayoutId id="2147484164" r:id="rId15"/>
    <p:sldLayoutId id="2147484165" r:id="rId16"/>
    <p:sldLayoutId id="2147484166" r:id="rId17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/>
              <a:t>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fld id="{2DE98253-FD7E-42A0-9E34-2B1A503DAEFF}" type="datetime4">
              <a:rPr lang="en-US" smtClean="0"/>
              <a:t>May 10, 2019</a:t>
            </a:fld>
            <a:endParaRPr lang="en-US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7"/>
            <a:ext cx="2016224" cy="184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INTERNA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0586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0" r:id="rId1"/>
    <p:sldLayoutId id="2147484171" r:id="rId2"/>
    <p:sldLayoutId id="2147484172" r:id="rId3"/>
    <p:sldLayoutId id="2147484173" r:id="rId4"/>
    <p:sldLayoutId id="2147484174" r:id="rId5"/>
    <p:sldLayoutId id="2147484175" r:id="rId6"/>
    <p:sldLayoutId id="2147484176" r:id="rId7"/>
    <p:sldLayoutId id="2147484177" r:id="rId8"/>
    <p:sldLayoutId id="2147484178" r:id="rId9"/>
    <p:sldLayoutId id="2147484179" r:id="rId10"/>
    <p:sldLayoutId id="2147484180" r:id="rId11"/>
    <p:sldLayoutId id="2147484181" r:id="rId12"/>
    <p:sldLayoutId id="2147484182" r:id="rId13"/>
    <p:sldLayoutId id="2147484183" r:id="rId14"/>
    <p:sldLayoutId id="2147484184" r:id="rId15"/>
    <p:sldLayoutId id="2147484185" r:id="rId16"/>
    <p:sldLayoutId id="2147484186" r:id="rId17"/>
    <p:sldLayoutId id="2147484187" r:id="rId18"/>
    <p:sldLayoutId id="2147484188" r:id="rId19"/>
    <p:sldLayoutId id="2147484189" r:id="rId20"/>
    <p:sldLayoutId id="2147484190" r:id="rId21"/>
    <p:sldLayoutId id="2147484191" r:id="rId22"/>
    <p:sldLayoutId id="2147484192" r:id="rId23"/>
    <p:sldLayoutId id="2147484193" r:id="rId24"/>
    <p:sldLayoutId id="2147484194" r:id="rId25"/>
    <p:sldLayoutId id="2147484195" r:id="rId26"/>
    <p:sldLayoutId id="2147484196" r:id="rId27"/>
    <p:sldLayoutId id="2147484197" r:id="rId28"/>
    <p:sldLayoutId id="2147484198" r:id="rId29"/>
    <p:sldLayoutId id="2147484199" r:id="rId30"/>
    <p:sldLayoutId id="2147484200" r:id="rId31"/>
    <p:sldLayoutId id="2147484201" r:id="rId32"/>
    <p:sldLayoutId id="2147484202" r:id="rId33"/>
    <p:sldLayoutId id="2147484203" r:id="rId34"/>
    <p:sldLayoutId id="2147484204" r:id="rId35"/>
    <p:sldLayoutId id="2147484205" r:id="rId36"/>
    <p:sldLayoutId id="2147484206" r:id="rId37"/>
    <p:sldLayoutId id="2147484207" r:id="rId38"/>
    <p:sldLayoutId id="2147484208" r:id="rId39"/>
    <p:sldLayoutId id="2147484209" r:id="rId40"/>
    <p:sldLayoutId id="2147484210" r:id="rId41"/>
    <p:sldLayoutId id="2147484211" r:id="rId42"/>
    <p:sldLayoutId id="2147484212" r:id="rId43"/>
    <p:sldLayoutId id="2147484213" r:id="rId44"/>
    <p:sldLayoutId id="2147484214" r:id="rId45"/>
    <p:sldLayoutId id="2147484215" r:id="rId46"/>
    <p:sldLayoutId id="2147484216" r:id="rId47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1AADA5A-16D3-48CF-BD69-C24CEE5A3803}" type="slidenum">
              <a:rPr lang="en-GB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GB">
                <a:solidFill>
                  <a:srgbClr val="000000"/>
                </a:solidFill>
                <a:latin typeface="Arial"/>
              </a:rPr>
              <a:t>.</a:t>
            </a:r>
            <a:endParaRPr lang="en-GB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7CA4483-4914-4392-95AD-5789BF0EF72C}" type="datetime4">
              <a:rPr lang="en-US" smtClean="0"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May 10, 2019</a:t>
            </a:fld>
            <a:endParaRPr lang="en-US" dirty="0">
              <a:latin typeface="Arial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6"/>
            <a:ext cx="2016224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l-NL" noProof="1">
                <a:solidFill>
                  <a:srgbClr val="000000"/>
                </a:solidFill>
                <a:latin typeface="Arial"/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3810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8" y="339728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7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1AADA5A-16D3-48CF-BD69-C24CEE5A3803}" type="slidenum">
              <a:rPr lang="en-GB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GB">
                <a:solidFill>
                  <a:srgbClr val="000000"/>
                </a:solidFill>
                <a:latin typeface="Arial"/>
              </a:rPr>
              <a:t>.</a:t>
            </a:r>
            <a:endParaRPr lang="en-GB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7CA4483-4914-4392-95AD-5789BF0EF72C}" type="datetime4">
              <a:rPr lang="en-US" smtClean="0"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May 10, 2019</a:t>
            </a:fld>
            <a:endParaRPr lang="en-US" dirty="0">
              <a:latin typeface="Arial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7"/>
            <a:ext cx="2016224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l-NL" noProof="1">
                <a:solidFill>
                  <a:srgbClr val="000000"/>
                </a:solidFill>
                <a:latin typeface="Arial"/>
              </a:rPr>
              <a:t>COMPANY CONFIDENTIAL</a:t>
            </a:r>
            <a:endParaRPr lang="en-GB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59754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905" r:id="rId11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7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51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26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00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81" indent="-380981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56" indent="-380981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31" indent="-380981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14" indent="-228589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489" indent="-228589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5973" indent="-28859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450" indent="-28859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4925" indent="-28859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400" indent="-28859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75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51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26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00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375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851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326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801" algn="l" defTabSz="103895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fld id="{51AADA5A-16D3-48CF-BD69-C24CEE5A3803}" type="slidenum">
              <a:rPr lang="en-GB" smtClean="0"/>
              <a:pPr/>
              <a:t>‹#›</a:t>
            </a:fld>
            <a:r>
              <a:rPr lang="en-GB" dirty="0"/>
              <a:t>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fld id="{87CA4483-4914-4392-95AD-5789BF0EF72C}" type="datetime4">
              <a:rPr lang="en-US" smtClean="0"/>
              <a:t>May 10, 2019</a:t>
            </a:fld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330477"/>
            <a:ext cx="2016224" cy="1846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6496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3364708" y="1739901"/>
            <a:ext cx="5462587" cy="3566691"/>
            <a:chOff x="3364707" y="1739900"/>
            <a:chExt cx="5462587" cy="3566691"/>
          </a:xfrm>
        </p:grpSpPr>
        <p:grpSp>
          <p:nvGrpSpPr>
            <p:cNvPr id="9" name="Group 8"/>
            <p:cNvGrpSpPr/>
            <p:nvPr userDrawn="1"/>
          </p:nvGrpSpPr>
          <p:grpSpPr>
            <a:xfrm>
              <a:off x="3751325" y="1739900"/>
              <a:ext cx="4689351" cy="1689100"/>
              <a:chOff x="271463" y="2852738"/>
              <a:chExt cx="3190876" cy="1149350"/>
            </a:xfrm>
          </p:grpSpPr>
          <p:sp>
            <p:nvSpPr>
              <p:cNvPr id="46" name="Freeform 6"/>
              <p:cNvSpPr>
                <a:spLocks/>
              </p:cNvSpPr>
              <p:nvPr/>
            </p:nvSpPr>
            <p:spPr bwMode="auto">
              <a:xfrm>
                <a:off x="1577976" y="2852738"/>
                <a:ext cx="609600" cy="1149350"/>
              </a:xfrm>
              <a:custGeom>
                <a:avLst/>
                <a:gdLst>
                  <a:gd name="T0" fmla="*/ 0 w 384"/>
                  <a:gd name="T1" fmla="*/ 0 h 724"/>
                  <a:gd name="T2" fmla="*/ 41 w 384"/>
                  <a:gd name="T3" fmla="*/ 0 h 724"/>
                  <a:gd name="T4" fmla="*/ 192 w 384"/>
                  <a:gd name="T5" fmla="*/ 241 h 724"/>
                  <a:gd name="T6" fmla="*/ 341 w 384"/>
                  <a:gd name="T7" fmla="*/ 0 h 724"/>
                  <a:gd name="T8" fmla="*/ 382 w 384"/>
                  <a:gd name="T9" fmla="*/ 0 h 724"/>
                  <a:gd name="T10" fmla="*/ 382 w 384"/>
                  <a:gd name="T11" fmla="*/ 723 h 724"/>
                  <a:gd name="T12" fmla="*/ 384 w 384"/>
                  <a:gd name="T13" fmla="*/ 724 h 724"/>
                  <a:gd name="T14" fmla="*/ 341 w 384"/>
                  <a:gd name="T15" fmla="*/ 724 h 724"/>
                  <a:gd name="T16" fmla="*/ 192 w 384"/>
                  <a:gd name="T17" fmla="*/ 483 h 724"/>
                  <a:gd name="T18" fmla="*/ 41 w 384"/>
                  <a:gd name="T19" fmla="*/ 724 h 724"/>
                  <a:gd name="T20" fmla="*/ 0 w 384"/>
                  <a:gd name="T21" fmla="*/ 724 h 724"/>
                  <a:gd name="T22" fmla="*/ 0 w 384"/>
                  <a:gd name="T23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4" h="724">
                    <a:moveTo>
                      <a:pt x="0" y="0"/>
                    </a:moveTo>
                    <a:lnTo>
                      <a:pt x="41" y="0"/>
                    </a:lnTo>
                    <a:lnTo>
                      <a:pt x="192" y="241"/>
                    </a:lnTo>
                    <a:lnTo>
                      <a:pt x="341" y="0"/>
                    </a:lnTo>
                    <a:lnTo>
                      <a:pt x="382" y="0"/>
                    </a:lnTo>
                    <a:lnTo>
                      <a:pt x="382" y="723"/>
                    </a:lnTo>
                    <a:lnTo>
                      <a:pt x="384" y="724"/>
                    </a:lnTo>
                    <a:lnTo>
                      <a:pt x="341" y="724"/>
                    </a:lnTo>
                    <a:lnTo>
                      <a:pt x="192" y="483"/>
                    </a:lnTo>
                    <a:lnTo>
                      <a:pt x="41" y="724"/>
                    </a:lnTo>
                    <a:lnTo>
                      <a:pt x="0" y="7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DB2D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Freeform 7"/>
              <p:cNvSpPr>
                <a:spLocks/>
              </p:cNvSpPr>
              <p:nvPr/>
            </p:nvSpPr>
            <p:spPr bwMode="auto">
              <a:xfrm>
                <a:off x="1225551" y="2852738"/>
                <a:ext cx="352425" cy="1149350"/>
              </a:xfrm>
              <a:custGeom>
                <a:avLst/>
                <a:gdLst>
                  <a:gd name="T0" fmla="*/ 0 w 222"/>
                  <a:gd name="T1" fmla="*/ 0 h 724"/>
                  <a:gd name="T2" fmla="*/ 222 w 222"/>
                  <a:gd name="T3" fmla="*/ 0 h 724"/>
                  <a:gd name="T4" fmla="*/ 222 w 222"/>
                  <a:gd name="T5" fmla="*/ 724 h 724"/>
                  <a:gd name="T6" fmla="*/ 0 w 222"/>
                  <a:gd name="T7" fmla="*/ 724 h 724"/>
                  <a:gd name="T8" fmla="*/ 222 w 222"/>
                  <a:gd name="T9" fmla="*/ 361 h 724"/>
                  <a:gd name="T10" fmla="*/ 0 w 222"/>
                  <a:gd name="T1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2" h="724">
                    <a:moveTo>
                      <a:pt x="0" y="0"/>
                    </a:moveTo>
                    <a:lnTo>
                      <a:pt x="222" y="0"/>
                    </a:lnTo>
                    <a:lnTo>
                      <a:pt x="222" y="724"/>
                    </a:lnTo>
                    <a:lnTo>
                      <a:pt x="0" y="724"/>
                    </a:lnTo>
                    <a:lnTo>
                      <a:pt x="222" y="36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5843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Freeform 8"/>
              <p:cNvSpPr>
                <a:spLocks/>
              </p:cNvSpPr>
              <p:nvPr/>
            </p:nvSpPr>
            <p:spPr bwMode="auto">
              <a:xfrm>
                <a:off x="2184401" y="2852738"/>
                <a:ext cx="354013" cy="1149350"/>
              </a:xfrm>
              <a:custGeom>
                <a:avLst/>
                <a:gdLst>
                  <a:gd name="T0" fmla="*/ 0 w 223"/>
                  <a:gd name="T1" fmla="*/ 0 h 724"/>
                  <a:gd name="T2" fmla="*/ 223 w 223"/>
                  <a:gd name="T3" fmla="*/ 0 h 724"/>
                  <a:gd name="T4" fmla="*/ 2 w 223"/>
                  <a:gd name="T5" fmla="*/ 361 h 724"/>
                  <a:gd name="T6" fmla="*/ 223 w 223"/>
                  <a:gd name="T7" fmla="*/ 724 h 724"/>
                  <a:gd name="T8" fmla="*/ 2 w 223"/>
                  <a:gd name="T9" fmla="*/ 724 h 724"/>
                  <a:gd name="T10" fmla="*/ 0 w 223"/>
                  <a:gd name="T11" fmla="*/ 723 h 724"/>
                  <a:gd name="T12" fmla="*/ 0 w 223"/>
                  <a:gd name="T13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3" h="724">
                    <a:moveTo>
                      <a:pt x="0" y="0"/>
                    </a:moveTo>
                    <a:lnTo>
                      <a:pt x="223" y="0"/>
                    </a:lnTo>
                    <a:lnTo>
                      <a:pt x="2" y="361"/>
                    </a:lnTo>
                    <a:lnTo>
                      <a:pt x="223" y="724"/>
                    </a:lnTo>
                    <a:lnTo>
                      <a:pt x="2" y="724"/>
                    </a:lnTo>
                    <a:lnTo>
                      <a:pt x="0" y="7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3983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9"/>
              <p:cNvSpPr>
                <a:spLocks noEditPoints="1"/>
              </p:cNvSpPr>
              <p:nvPr/>
            </p:nvSpPr>
            <p:spPr bwMode="auto">
              <a:xfrm>
                <a:off x="2187576" y="2852738"/>
                <a:ext cx="1274763" cy="1149350"/>
              </a:xfrm>
              <a:custGeom>
                <a:avLst/>
                <a:gdLst>
                  <a:gd name="T0" fmla="*/ 221 w 803"/>
                  <a:gd name="T1" fmla="*/ 179 h 724"/>
                  <a:gd name="T2" fmla="*/ 221 w 803"/>
                  <a:gd name="T3" fmla="*/ 383 h 724"/>
                  <a:gd name="T4" fmla="*/ 523 w 803"/>
                  <a:gd name="T5" fmla="*/ 383 h 724"/>
                  <a:gd name="T6" fmla="*/ 543 w 803"/>
                  <a:gd name="T7" fmla="*/ 382 h 724"/>
                  <a:gd name="T8" fmla="*/ 560 w 803"/>
                  <a:gd name="T9" fmla="*/ 374 h 724"/>
                  <a:gd name="T10" fmla="*/ 573 w 803"/>
                  <a:gd name="T11" fmla="*/ 361 h 724"/>
                  <a:gd name="T12" fmla="*/ 583 w 803"/>
                  <a:gd name="T13" fmla="*/ 346 h 724"/>
                  <a:gd name="T14" fmla="*/ 589 w 803"/>
                  <a:gd name="T15" fmla="*/ 329 h 724"/>
                  <a:gd name="T16" fmla="*/ 594 w 803"/>
                  <a:gd name="T17" fmla="*/ 310 h 724"/>
                  <a:gd name="T18" fmla="*/ 596 w 803"/>
                  <a:gd name="T19" fmla="*/ 292 h 724"/>
                  <a:gd name="T20" fmla="*/ 596 w 803"/>
                  <a:gd name="T21" fmla="*/ 256 h 724"/>
                  <a:gd name="T22" fmla="*/ 592 w 803"/>
                  <a:gd name="T23" fmla="*/ 233 h 724"/>
                  <a:gd name="T24" fmla="*/ 586 w 803"/>
                  <a:gd name="T25" fmla="*/ 215 h 724"/>
                  <a:gd name="T26" fmla="*/ 574 w 803"/>
                  <a:gd name="T27" fmla="*/ 200 h 724"/>
                  <a:gd name="T28" fmla="*/ 558 w 803"/>
                  <a:gd name="T29" fmla="*/ 188 h 724"/>
                  <a:gd name="T30" fmla="*/ 533 w 803"/>
                  <a:gd name="T31" fmla="*/ 182 h 724"/>
                  <a:gd name="T32" fmla="*/ 504 w 803"/>
                  <a:gd name="T33" fmla="*/ 179 h 724"/>
                  <a:gd name="T34" fmla="*/ 221 w 803"/>
                  <a:gd name="T35" fmla="*/ 179 h 724"/>
                  <a:gd name="T36" fmla="*/ 221 w 803"/>
                  <a:gd name="T37" fmla="*/ 0 h 724"/>
                  <a:gd name="T38" fmla="*/ 540 w 803"/>
                  <a:gd name="T39" fmla="*/ 0 h 724"/>
                  <a:gd name="T40" fmla="*/ 589 w 803"/>
                  <a:gd name="T41" fmla="*/ 2 h 724"/>
                  <a:gd name="T42" fmla="*/ 633 w 803"/>
                  <a:gd name="T43" fmla="*/ 8 h 724"/>
                  <a:gd name="T44" fmla="*/ 670 w 803"/>
                  <a:gd name="T45" fmla="*/ 18 h 724"/>
                  <a:gd name="T46" fmla="*/ 702 w 803"/>
                  <a:gd name="T47" fmla="*/ 33 h 724"/>
                  <a:gd name="T48" fmla="*/ 729 w 803"/>
                  <a:gd name="T49" fmla="*/ 49 h 724"/>
                  <a:gd name="T50" fmla="*/ 750 w 803"/>
                  <a:gd name="T51" fmla="*/ 70 h 724"/>
                  <a:gd name="T52" fmla="*/ 768 w 803"/>
                  <a:gd name="T53" fmla="*/ 93 h 724"/>
                  <a:gd name="T54" fmla="*/ 781 w 803"/>
                  <a:gd name="T55" fmla="*/ 120 h 724"/>
                  <a:gd name="T56" fmla="*/ 791 w 803"/>
                  <a:gd name="T57" fmla="*/ 149 h 724"/>
                  <a:gd name="T58" fmla="*/ 798 w 803"/>
                  <a:gd name="T59" fmla="*/ 180 h 724"/>
                  <a:gd name="T60" fmla="*/ 803 w 803"/>
                  <a:gd name="T61" fmla="*/ 213 h 724"/>
                  <a:gd name="T62" fmla="*/ 803 w 803"/>
                  <a:gd name="T63" fmla="*/ 247 h 724"/>
                  <a:gd name="T64" fmla="*/ 803 w 803"/>
                  <a:gd name="T65" fmla="*/ 333 h 724"/>
                  <a:gd name="T66" fmla="*/ 803 w 803"/>
                  <a:gd name="T67" fmla="*/ 361 h 724"/>
                  <a:gd name="T68" fmla="*/ 798 w 803"/>
                  <a:gd name="T69" fmla="*/ 392 h 724"/>
                  <a:gd name="T70" fmla="*/ 791 w 803"/>
                  <a:gd name="T71" fmla="*/ 421 h 724"/>
                  <a:gd name="T72" fmla="*/ 781 w 803"/>
                  <a:gd name="T73" fmla="*/ 449 h 724"/>
                  <a:gd name="T74" fmla="*/ 768 w 803"/>
                  <a:gd name="T75" fmla="*/ 475 h 724"/>
                  <a:gd name="T76" fmla="*/ 750 w 803"/>
                  <a:gd name="T77" fmla="*/ 500 h 724"/>
                  <a:gd name="T78" fmla="*/ 729 w 803"/>
                  <a:gd name="T79" fmla="*/ 521 h 724"/>
                  <a:gd name="T80" fmla="*/ 704 w 803"/>
                  <a:gd name="T81" fmla="*/ 539 h 724"/>
                  <a:gd name="T82" fmla="*/ 673 w 803"/>
                  <a:gd name="T83" fmla="*/ 552 h 724"/>
                  <a:gd name="T84" fmla="*/ 638 w 803"/>
                  <a:gd name="T85" fmla="*/ 560 h 724"/>
                  <a:gd name="T86" fmla="*/ 597 w 803"/>
                  <a:gd name="T87" fmla="*/ 564 h 724"/>
                  <a:gd name="T88" fmla="*/ 221 w 803"/>
                  <a:gd name="T89" fmla="*/ 564 h 724"/>
                  <a:gd name="T90" fmla="*/ 221 w 803"/>
                  <a:gd name="T91" fmla="*/ 724 h 724"/>
                  <a:gd name="T92" fmla="*/ 221 w 803"/>
                  <a:gd name="T93" fmla="*/ 724 h 724"/>
                  <a:gd name="T94" fmla="*/ 0 w 803"/>
                  <a:gd name="T95" fmla="*/ 361 h 724"/>
                  <a:gd name="T96" fmla="*/ 221 w 803"/>
                  <a:gd name="T97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03" h="724">
                    <a:moveTo>
                      <a:pt x="221" y="179"/>
                    </a:moveTo>
                    <a:lnTo>
                      <a:pt x="221" y="383"/>
                    </a:lnTo>
                    <a:lnTo>
                      <a:pt x="523" y="383"/>
                    </a:lnTo>
                    <a:lnTo>
                      <a:pt x="543" y="382"/>
                    </a:lnTo>
                    <a:lnTo>
                      <a:pt x="560" y="374"/>
                    </a:lnTo>
                    <a:lnTo>
                      <a:pt x="573" y="361"/>
                    </a:lnTo>
                    <a:lnTo>
                      <a:pt x="583" y="346"/>
                    </a:lnTo>
                    <a:lnTo>
                      <a:pt x="589" y="329"/>
                    </a:lnTo>
                    <a:lnTo>
                      <a:pt x="594" y="310"/>
                    </a:lnTo>
                    <a:lnTo>
                      <a:pt x="596" y="292"/>
                    </a:lnTo>
                    <a:lnTo>
                      <a:pt x="596" y="256"/>
                    </a:lnTo>
                    <a:lnTo>
                      <a:pt x="592" y="233"/>
                    </a:lnTo>
                    <a:lnTo>
                      <a:pt x="586" y="215"/>
                    </a:lnTo>
                    <a:lnTo>
                      <a:pt x="574" y="200"/>
                    </a:lnTo>
                    <a:lnTo>
                      <a:pt x="558" y="188"/>
                    </a:lnTo>
                    <a:lnTo>
                      <a:pt x="533" y="182"/>
                    </a:lnTo>
                    <a:lnTo>
                      <a:pt x="504" y="179"/>
                    </a:lnTo>
                    <a:lnTo>
                      <a:pt x="221" y="179"/>
                    </a:lnTo>
                    <a:close/>
                    <a:moveTo>
                      <a:pt x="221" y="0"/>
                    </a:moveTo>
                    <a:lnTo>
                      <a:pt x="540" y="0"/>
                    </a:lnTo>
                    <a:lnTo>
                      <a:pt x="589" y="2"/>
                    </a:lnTo>
                    <a:lnTo>
                      <a:pt x="633" y="8"/>
                    </a:lnTo>
                    <a:lnTo>
                      <a:pt x="670" y="18"/>
                    </a:lnTo>
                    <a:lnTo>
                      <a:pt x="702" y="33"/>
                    </a:lnTo>
                    <a:lnTo>
                      <a:pt x="729" y="49"/>
                    </a:lnTo>
                    <a:lnTo>
                      <a:pt x="750" y="70"/>
                    </a:lnTo>
                    <a:lnTo>
                      <a:pt x="768" y="93"/>
                    </a:lnTo>
                    <a:lnTo>
                      <a:pt x="781" y="120"/>
                    </a:lnTo>
                    <a:lnTo>
                      <a:pt x="791" y="149"/>
                    </a:lnTo>
                    <a:lnTo>
                      <a:pt x="798" y="180"/>
                    </a:lnTo>
                    <a:lnTo>
                      <a:pt x="803" y="213"/>
                    </a:lnTo>
                    <a:lnTo>
                      <a:pt x="803" y="247"/>
                    </a:lnTo>
                    <a:lnTo>
                      <a:pt x="803" y="333"/>
                    </a:lnTo>
                    <a:lnTo>
                      <a:pt x="803" y="361"/>
                    </a:lnTo>
                    <a:lnTo>
                      <a:pt x="798" y="392"/>
                    </a:lnTo>
                    <a:lnTo>
                      <a:pt x="791" y="421"/>
                    </a:lnTo>
                    <a:lnTo>
                      <a:pt x="781" y="449"/>
                    </a:lnTo>
                    <a:lnTo>
                      <a:pt x="768" y="475"/>
                    </a:lnTo>
                    <a:lnTo>
                      <a:pt x="750" y="500"/>
                    </a:lnTo>
                    <a:lnTo>
                      <a:pt x="729" y="521"/>
                    </a:lnTo>
                    <a:lnTo>
                      <a:pt x="704" y="539"/>
                    </a:lnTo>
                    <a:lnTo>
                      <a:pt x="673" y="552"/>
                    </a:lnTo>
                    <a:lnTo>
                      <a:pt x="638" y="560"/>
                    </a:lnTo>
                    <a:lnTo>
                      <a:pt x="597" y="564"/>
                    </a:lnTo>
                    <a:lnTo>
                      <a:pt x="221" y="564"/>
                    </a:lnTo>
                    <a:lnTo>
                      <a:pt x="221" y="724"/>
                    </a:lnTo>
                    <a:lnTo>
                      <a:pt x="221" y="724"/>
                    </a:lnTo>
                    <a:lnTo>
                      <a:pt x="0" y="361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C7D22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10"/>
              <p:cNvSpPr>
                <a:spLocks/>
              </p:cNvSpPr>
              <p:nvPr/>
            </p:nvSpPr>
            <p:spPr bwMode="auto">
              <a:xfrm>
                <a:off x="271463" y="2852738"/>
                <a:ext cx="1306513" cy="1149350"/>
              </a:xfrm>
              <a:custGeom>
                <a:avLst/>
                <a:gdLst>
                  <a:gd name="T0" fmla="*/ 0 w 823"/>
                  <a:gd name="T1" fmla="*/ 0 h 724"/>
                  <a:gd name="T2" fmla="*/ 223 w 823"/>
                  <a:gd name="T3" fmla="*/ 0 h 724"/>
                  <a:gd name="T4" fmla="*/ 601 w 823"/>
                  <a:gd name="T5" fmla="*/ 438 h 724"/>
                  <a:gd name="T6" fmla="*/ 601 w 823"/>
                  <a:gd name="T7" fmla="*/ 0 h 724"/>
                  <a:gd name="T8" fmla="*/ 601 w 823"/>
                  <a:gd name="T9" fmla="*/ 0 h 724"/>
                  <a:gd name="T10" fmla="*/ 823 w 823"/>
                  <a:gd name="T11" fmla="*/ 361 h 724"/>
                  <a:gd name="T12" fmla="*/ 601 w 823"/>
                  <a:gd name="T13" fmla="*/ 724 h 724"/>
                  <a:gd name="T14" fmla="*/ 223 w 823"/>
                  <a:gd name="T15" fmla="*/ 287 h 724"/>
                  <a:gd name="T16" fmla="*/ 223 w 823"/>
                  <a:gd name="T17" fmla="*/ 724 h 724"/>
                  <a:gd name="T18" fmla="*/ 0 w 823"/>
                  <a:gd name="T19" fmla="*/ 724 h 724"/>
                  <a:gd name="T20" fmla="*/ 0 w 823"/>
                  <a:gd name="T2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3" h="724">
                    <a:moveTo>
                      <a:pt x="0" y="0"/>
                    </a:moveTo>
                    <a:lnTo>
                      <a:pt x="223" y="0"/>
                    </a:lnTo>
                    <a:lnTo>
                      <a:pt x="601" y="438"/>
                    </a:lnTo>
                    <a:lnTo>
                      <a:pt x="601" y="0"/>
                    </a:lnTo>
                    <a:lnTo>
                      <a:pt x="601" y="0"/>
                    </a:lnTo>
                    <a:lnTo>
                      <a:pt x="823" y="361"/>
                    </a:lnTo>
                    <a:lnTo>
                      <a:pt x="601" y="724"/>
                    </a:lnTo>
                    <a:lnTo>
                      <a:pt x="223" y="287"/>
                    </a:lnTo>
                    <a:lnTo>
                      <a:pt x="223" y="724"/>
                    </a:lnTo>
                    <a:lnTo>
                      <a:pt x="0" y="7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A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" name="Group 9"/>
            <p:cNvGrpSpPr/>
            <p:nvPr userDrawn="1"/>
          </p:nvGrpSpPr>
          <p:grpSpPr>
            <a:xfrm>
              <a:off x="3364707" y="4271963"/>
              <a:ext cx="5462587" cy="1034628"/>
              <a:chOff x="4252913" y="4551363"/>
              <a:chExt cx="7040562" cy="1333500"/>
            </a:xfrm>
          </p:grpSpPr>
          <p:sp>
            <p:nvSpPr>
              <p:cNvPr id="11" name="Rectangle 12"/>
              <p:cNvSpPr>
                <a:spLocks noChangeArrowheads="1"/>
              </p:cNvSpPr>
              <p:nvPr userDrawn="1"/>
            </p:nvSpPr>
            <p:spPr bwMode="auto">
              <a:xfrm>
                <a:off x="4252913" y="4551363"/>
                <a:ext cx="28575" cy="13335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Rectangle 13"/>
              <p:cNvSpPr>
                <a:spLocks noChangeArrowheads="1"/>
              </p:cNvSpPr>
              <p:nvPr userDrawn="1"/>
            </p:nvSpPr>
            <p:spPr bwMode="auto">
              <a:xfrm>
                <a:off x="11264900" y="4551363"/>
                <a:ext cx="28575" cy="13335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14"/>
              <p:cNvSpPr>
                <a:spLocks/>
              </p:cNvSpPr>
              <p:nvPr userDrawn="1"/>
            </p:nvSpPr>
            <p:spPr bwMode="auto">
              <a:xfrm>
                <a:off x="4714875" y="4765676"/>
                <a:ext cx="250825" cy="396875"/>
              </a:xfrm>
              <a:custGeom>
                <a:avLst/>
                <a:gdLst>
                  <a:gd name="T0" fmla="*/ 88 w 158"/>
                  <a:gd name="T1" fmla="*/ 0 h 250"/>
                  <a:gd name="T2" fmla="*/ 114 w 158"/>
                  <a:gd name="T3" fmla="*/ 3 h 250"/>
                  <a:gd name="T4" fmla="*/ 137 w 158"/>
                  <a:gd name="T5" fmla="*/ 10 h 250"/>
                  <a:gd name="T6" fmla="*/ 156 w 158"/>
                  <a:gd name="T7" fmla="*/ 26 h 250"/>
                  <a:gd name="T8" fmla="*/ 130 w 158"/>
                  <a:gd name="T9" fmla="*/ 52 h 250"/>
                  <a:gd name="T10" fmla="*/ 114 w 158"/>
                  <a:gd name="T11" fmla="*/ 35 h 250"/>
                  <a:gd name="T12" fmla="*/ 88 w 158"/>
                  <a:gd name="T13" fmla="*/ 31 h 250"/>
                  <a:gd name="T14" fmla="*/ 65 w 158"/>
                  <a:gd name="T15" fmla="*/ 33 h 250"/>
                  <a:gd name="T16" fmla="*/ 51 w 158"/>
                  <a:gd name="T17" fmla="*/ 42 h 250"/>
                  <a:gd name="T18" fmla="*/ 44 w 158"/>
                  <a:gd name="T19" fmla="*/ 54 h 250"/>
                  <a:gd name="T20" fmla="*/ 41 w 158"/>
                  <a:gd name="T21" fmla="*/ 66 h 250"/>
                  <a:gd name="T22" fmla="*/ 46 w 158"/>
                  <a:gd name="T23" fmla="*/ 84 h 250"/>
                  <a:gd name="T24" fmla="*/ 55 w 158"/>
                  <a:gd name="T25" fmla="*/ 94 h 250"/>
                  <a:gd name="T26" fmla="*/ 72 w 158"/>
                  <a:gd name="T27" fmla="*/ 103 h 250"/>
                  <a:gd name="T28" fmla="*/ 90 w 158"/>
                  <a:gd name="T29" fmla="*/ 110 h 250"/>
                  <a:gd name="T30" fmla="*/ 109 w 158"/>
                  <a:gd name="T31" fmla="*/ 115 h 250"/>
                  <a:gd name="T32" fmla="*/ 128 w 158"/>
                  <a:gd name="T33" fmla="*/ 124 h 250"/>
                  <a:gd name="T34" fmla="*/ 144 w 158"/>
                  <a:gd name="T35" fmla="*/ 136 h 250"/>
                  <a:gd name="T36" fmla="*/ 156 w 158"/>
                  <a:gd name="T37" fmla="*/ 152 h 250"/>
                  <a:gd name="T38" fmla="*/ 158 w 158"/>
                  <a:gd name="T39" fmla="*/ 178 h 250"/>
                  <a:gd name="T40" fmla="*/ 156 w 158"/>
                  <a:gd name="T41" fmla="*/ 203 h 250"/>
                  <a:gd name="T42" fmla="*/ 144 w 158"/>
                  <a:gd name="T43" fmla="*/ 222 h 250"/>
                  <a:gd name="T44" fmla="*/ 125 w 158"/>
                  <a:gd name="T45" fmla="*/ 238 h 250"/>
                  <a:gd name="T46" fmla="*/ 102 w 158"/>
                  <a:gd name="T47" fmla="*/ 248 h 250"/>
                  <a:gd name="T48" fmla="*/ 76 w 158"/>
                  <a:gd name="T49" fmla="*/ 250 h 250"/>
                  <a:gd name="T50" fmla="*/ 46 w 158"/>
                  <a:gd name="T51" fmla="*/ 248 h 250"/>
                  <a:gd name="T52" fmla="*/ 21 w 158"/>
                  <a:gd name="T53" fmla="*/ 236 h 250"/>
                  <a:gd name="T54" fmla="*/ 0 w 158"/>
                  <a:gd name="T55" fmla="*/ 217 h 250"/>
                  <a:gd name="T56" fmla="*/ 28 w 158"/>
                  <a:gd name="T57" fmla="*/ 194 h 250"/>
                  <a:gd name="T58" fmla="*/ 41 w 158"/>
                  <a:gd name="T59" fmla="*/ 210 h 250"/>
                  <a:gd name="T60" fmla="*/ 58 w 158"/>
                  <a:gd name="T61" fmla="*/ 217 h 250"/>
                  <a:gd name="T62" fmla="*/ 76 w 158"/>
                  <a:gd name="T63" fmla="*/ 220 h 250"/>
                  <a:gd name="T64" fmla="*/ 93 w 158"/>
                  <a:gd name="T65" fmla="*/ 217 h 250"/>
                  <a:gd name="T66" fmla="*/ 109 w 158"/>
                  <a:gd name="T67" fmla="*/ 210 h 250"/>
                  <a:gd name="T68" fmla="*/ 121 w 158"/>
                  <a:gd name="T69" fmla="*/ 199 h 250"/>
                  <a:gd name="T70" fmla="*/ 125 w 158"/>
                  <a:gd name="T71" fmla="*/ 180 h 250"/>
                  <a:gd name="T72" fmla="*/ 121 w 158"/>
                  <a:gd name="T73" fmla="*/ 166 h 250"/>
                  <a:gd name="T74" fmla="*/ 109 w 158"/>
                  <a:gd name="T75" fmla="*/ 154 h 250"/>
                  <a:gd name="T76" fmla="*/ 95 w 158"/>
                  <a:gd name="T77" fmla="*/ 147 h 250"/>
                  <a:gd name="T78" fmla="*/ 76 w 158"/>
                  <a:gd name="T79" fmla="*/ 140 h 250"/>
                  <a:gd name="T80" fmla="*/ 55 w 158"/>
                  <a:gd name="T81" fmla="*/ 133 h 250"/>
                  <a:gd name="T82" fmla="*/ 37 w 158"/>
                  <a:gd name="T83" fmla="*/ 126 h 250"/>
                  <a:gd name="T84" fmla="*/ 23 w 158"/>
                  <a:gd name="T85" fmla="*/ 112 h 250"/>
                  <a:gd name="T86" fmla="*/ 11 w 158"/>
                  <a:gd name="T87" fmla="*/ 94 h 250"/>
                  <a:gd name="T88" fmla="*/ 7 w 158"/>
                  <a:gd name="T89" fmla="*/ 66 h 250"/>
                  <a:gd name="T90" fmla="*/ 9 w 158"/>
                  <a:gd name="T91" fmla="*/ 49 h 250"/>
                  <a:gd name="T92" fmla="*/ 18 w 158"/>
                  <a:gd name="T93" fmla="*/ 31 h 250"/>
                  <a:gd name="T94" fmla="*/ 35 w 158"/>
                  <a:gd name="T95" fmla="*/ 14 h 250"/>
                  <a:gd name="T96" fmla="*/ 58 w 158"/>
                  <a:gd name="T97" fmla="*/ 3 h 250"/>
                  <a:gd name="T98" fmla="*/ 88 w 158"/>
                  <a:gd name="T9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8" h="250">
                    <a:moveTo>
                      <a:pt x="88" y="0"/>
                    </a:moveTo>
                    <a:lnTo>
                      <a:pt x="114" y="3"/>
                    </a:lnTo>
                    <a:lnTo>
                      <a:pt x="137" y="10"/>
                    </a:lnTo>
                    <a:lnTo>
                      <a:pt x="156" y="26"/>
                    </a:lnTo>
                    <a:lnTo>
                      <a:pt x="130" y="52"/>
                    </a:lnTo>
                    <a:lnTo>
                      <a:pt x="114" y="35"/>
                    </a:lnTo>
                    <a:lnTo>
                      <a:pt x="88" y="31"/>
                    </a:lnTo>
                    <a:lnTo>
                      <a:pt x="65" y="33"/>
                    </a:lnTo>
                    <a:lnTo>
                      <a:pt x="51" y="42"/>
                    </a:lnTo>
                    <a:lnTo>
                      <a:pt x="44" y="54"/>
                    </a:lnTo>
                    <a:lnTo>
                      <a:pt x="41" y="66"/>
                    </a:lnTo>
                    <a:lnTo>
                      <a:pt x="46" y="84"/>
                    </a:lnTo>
                    <a:lnTo>
                      <a:pt x="55" y="94"/>
                    </a:lnTo>
                    <a:lnTo>
                      <a:pt x="72" y="103"/>
                    </a:lnTo>
                    <a:lnTo>
                      <a:pt x="90" y="110"/>
                    </a:lnTo>
                    <a:lnTo>
                      <a:pt x="109" y="115"/>
                    </a:lnTo>
                    <a:lnTo>
                      <a:pt x="128" y="124"/>
                    </a:lnTo>
                    <a:lnTo>
                      <a:pt x="144" y="136"/>
                    </a:lnTo>
                    <a:lnTo>
                      <a:pt x="156" y="152"/>
                    </a:lnTo>
                    <a:lnTo>
                      <a:pt x="158" y="178"/>
                    </a:lnTo>
                    <a:lnTo>
                      <a:pt x="156" y="203"/>
                    </a:lnTo>
                    <a:lnTo>
                      <a:pt x="144" y="222"/>
                    </a:lnTo>
                    <a:lnTo>
                      <a:pt x="125" y="238"/>
                    </a:lnTo>
                    <a:lnTo>
                      <a:pt x="102" y="248"/>
                    </a:lnTo>
                    <a:lnTo>
                      <a:pt x="76" y="250"/>
                    </a:lnTo>
                    <a:lnTo>
                      <a:pt x="46" y="248"/>
                    </a:lnTo>
                    <a:lnTo>
                      <a:pt x="21" y="236"/>
                    </a:lnTo>
                    <a:lnTo>
                      <a:pt x="0" y="217"/>
                    </a:lnTo>
                    <a:lnTo>
                      <a:pt x="28" y="194"/>
                    </a:lnTo>
                    <a:lnTo>
                      <a:pt x="41" y="210"/>
                    </a:lnTo>
                    <a:lnTo>
                      <a:pt x="58" y="217"/>
                    </a:lnTo>
                    <a:lnTo>
                      <a:pt x="76" y="220"/>
                    </a:lnTo>
                    <a:lnTo>
                      <a:pt x="93" y="217"/>
                    </a:lnTo>
                    <a:lnTo>
                      <a:pt x="109" y="210"/>
                    </a:lnTo>
                    <a:lnTo>
                      <a:pt x="121" y="199"/>
                    </a:lnTo>
                    <a:lnTo>
                      <a:pt x="125" y="180"/>
                    </a:lnTo>
                    <a:lnTo>
                      <a:pt x="121" y="166"/>
                    </a:lnTo>
                    <a:lnTo>
                      <a:pt x="109" y="154"/>
                    </a:lnTo>
                    <a:lnTo>
                      <a:pt x="95" y="147"/>
                    </a:lnTo>
                    <a:lnTo>
                      <a:pt x="76" y="140"/>
                    </a:lnTo>
                    <a:lnTo>
                      <a:pt x="55" y="133"/>
                    </a:lnTo>
                    <a:lnTo>
                      <a:pt x="37" y="126"/>
                    </a:lnTo>
                    <a:lnTo>
                      <a:pt x="23" y="112"/>
                    </a:lnTo>
                    <a:lnTo>
                      <a:pt x="11" y="94"/>
                    </a:lnTo>
                    <a:lnTo>
                      <a:pt x="7" y="66"/>
                    </a:lnTo>
                    <a:lnTo>
                      <a:pt x="9" y="49"/>
                    </a:lnTo>
                    <a:lnTo>
                      <a:pt x="18" y="31"/>
                    </a:lnTo>
                    <a:lnTo>
                      <a:pt x="35" y="14"/>
                    </a:lnTo>
                    <a:lnTo>
                      <a:pt x="58" y="3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15"/>
              <p:cNvSpPr>
                <a:spLocks/>
              </p:cNvSpPr>
              <p:nvPr userDrawn="1"/>
            </p:nvSpPr>
            <p:spPr bwMode="auto">
              <a:xfrm>
                <a:off x="5043488" y="4773613"/>
                <a:ext cx="254000" cy="381000"/>
              </a:xfrm>
              <a:custGeom>
                <a:avLst/>
                <a:gdLst>
                  <a:gd name="T0" fmla="*/ 0 w 160"/>
                  <a:gd name="T1" fmla="*/ 0 h 240"/>
                  <a:gd name="T2" fmla="*/ 153 w 160"/>
                  <a:gd name="T3" fmla="*/ 0 h 240"/>
                  <a:gd name="T4" fmla="*/ 153 w 160"/>
                  <a:gd name="T5" fmla="*/ 30 h 240"/>
                  <a:gd name="T6" fmla="*/ 32 w 160"/>
                  <a:gd name="T7" fmla="*/ 30 h 240"/>
                  <a:gd name="T8" fmla="*/ 32 w 160"/>
                  <a:gd name="T9" fmla="*/ 103 h 240"/>
                  <a:gd name="T10" fmla="*/ 146 w 160"/>
                  <a:gd name="T11" fmla="*/ 103 h 240"/>
                  <a:gd name="T12" fmla="*/ 146 w 160"/>
                  <a:gd name="T13" fmla="*/ 133 h 240"/>
                  <a:gd name="T14" fmla="*/ 32 w 160"/>
                  <a:gd name="T15" fmla="*/ 133 h 240"/>
                  <a:gd name="T16" fmla="*/ 32 w 160"/>
                  <a:gd name="T17" fmla="*/ 210 h 240"/>
                  <a:gd name="T18" fmla="*/ 160 w 160"/>
                  <a:gd name="T19" fmla="*/ 210 h 240"/>
                  <a:gd name="T20" fmla="*/ 160 w 160"/>
                  <a:gd name="T21" fmla="*/ 240 h 240"/>
                  <a:gd name="T22" fmla="*/ 0 w 160"/>
                  <a:gd name="T23" fmla="*/ 240 h 240"/>
                  <a:gd name="T24" fmla="*/ 0 w 160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0" h="240">
                    <a:moveTo>
                      <a:pt x="0" y="0"/>
                    </a:moveTo>
                    <a:lnTo>
                      <a:pt x="153" y="0"/>
                    </a:lnTo>
                    <a:lnTo>
                      <a:pt x="153" y="30"/>
                    </a:lnTo>
                    <a:lnTo>
                      <a:pt x="32" y="30"/>
                    </a:lnTo>
                    <a:lnTo>
                      <a:pt x="32" y="103"/>
                    </a:lnTo>
                    <a:lnTo>
                      <a:pt x="146" y="103"/>
                    </a:lnTo>
                    <a:lnTo>
                      <a:pt x="146" y="133"/>
                    </a:lnTo>
                    <a:lnTo>
                      <a:pt x="32" y="133"/>
                    </a:lnTo>
                    <a:lnTo>
                      <a:pt x="32" y="210"/>
                    </a:lnTo>
                    <a:lnTo>
                      <a:pt x="160" y="210"/>
                    </a:lnTo>
                    <a:lnTo>
                      <a:pt x="160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16"/>
              <p:cNvSpPr>
                <a:spLocks/>
              </p:cNvSpPr>
              <p:nvPr userDrawn="1"/>
            </p:nvSpPr>
            <p:spPr bwMode="auto">
              <a:xfrm>
                <a:off x="5335588" y="4765676"/>
                <a:ext cx="339725" cy="396875"/>
              </a:xfrm>
              <a:custGeom>
                <a:avLst/>
                <a:gdLst>
                  <a:gd name="T0" fmla="*/ 125 w 214"/>
                  <a:gd name="T1" fmla="*/ 0 h 250"/>
                  <a:gd name="T2" fmla="*/ 156 w 214"/>
                  <a:gd name="T3" fmla="*/ 3 h 250"/>
                  <a:gd name="T4" fmla="*/ 186 w 214"/>
                  <a:gd name="T5" fmla="*/ 17 h 250"/>
                  <a:gd name="T6" fmla="*/ 209 w 214"/>
                  <a:gd name="T7" fmla="*/ 38 h 250"/>
                  <a:gd name="T8" fmla="*/ 181 w 214"/>
                  <a:gd name="T9" fmla="*/ 56 h 250"/>
                  <a:gd name="T10" fmla="*/ 165 w 214"/>
                  <a:gd name="T11" fmla="*/ 42 h 250"/>
                  <a:gd name="T12" fmla="*/ 146 w 214"/>
                  <a:gd name="T13" fmla="*/ 33 h 250"/>
                  <a:gd name="T14" fmla="*/ 123 w 214"/>
                  <a:gd name="T15" fmla="*/ 31 h 250"/>
                  <a:gd name="T16" fmla="*/ 95 w 214"/>
                  <a:gd name="T17" fmla="*/ 35 h 250"/>
                  <a:gd name="T18" fmla="*/ 69 w 214"/>
                  <a:gd name="T19" fmla="*/ 49 h 250"/>
                  <a:gd name="T20" fmla="*/ 51 w 214"/>
                  <a:gd name="T21" fmla="*/ 70 h 250"/>
                  <a:gd name="T22" fmla="*/ 39 w 214"/>
                  <a:gd name="T23" fmla="*/ 96 h 250"/>
                  <a:gd name="T24" fmla="*/ 34 w 214"/>
                  <a:gd name="T25" fmla="*/ 126 h 250"/>
                  <a:gd name="T26" fmla="*/ 39 w 214"/>
                  <a:gd name="T27" fmla="*/ 157 h 250"/>
                  <a:gd name="T28" fmla="*/ 51 w 214"/>
                  <a:gd name="T29" fmla="*/ 182 h 250"/>
                  <a:gd name="T30" fmla="*/ 69 w 214"/>
                  <a:gd name="T31" fmla="*/ 201 h 250"/>
                  <a:gd name="T32" fmla="*/ 93 w 214"/>
                  <a:gd name="T33" fmla="*/ 215 h 250"/>
                  <a:gd name="T34" fmla="*/ 123 w 214"/>
                  <a:gd name="T35" fmla="*/ 220 h 250"/>
                  <a:gd name="T36" fmla="*/ 149 w 214"/>
                  <a:gd name="T37" fmla="*/ 217 h 250"/>
                  <a:gd name="T38" fmla="*/ 169 w 214"/>
                  <a:gd name="T39" fmla="*/ 206 h 250"/>
                  <a:gd name="T40" fmla="*/ 186 w 214"/>
                  <a:gd name="T41" fmla="*/ 189 h 250"/>
                  <a:gd name="T42" fmla="*/ 214 w 214"/>
                  <a:gd name="T43" fmla="*/ 208 h 250"/>
                  <a:gd name="T44" fmla="*/ 207 w 214"/>
                  <a:gd name="T45" fmla="*/ 217 h 250"/>
                  <a:gd name="T46" fmla="*/ 195 w 214"/>
                  <a:gd name="T47" fmla="*/ 229 h 250"/>
                  <a:gd name="T48" fmla="*/ 176 w 214"/>
                  <a:gd name="T49" fmla="*/ 238 h 250"/>
                  <a:gd name="T50" fmla="*/ 153 w 214"/>
                  <a:gd name="T51" fmla="*/ 248 h 250"/>
                  <a:gd name="T52" fmla="*/ 123 w 214"/>
                  <a:gd name="T53" fmla="*/ 250 h 250"/>
                  <a:gd name="T54" fmla="*/ 88 w 214"/>
                  <a:gd name="T55" fmla="*/ 245 h 250"/>
                  <a:gd name="T56" fmla="*/ 58 w 214"/>
                  <a:gd name="T57" fmla="*/ 231 h 250"/>
                  <a:gd name="T58" fmla="*/ 32 w 214"/>
                  <a:gd name="T59" fmla="*/ 213 h 250"/>
                  <a:gd name="T60" fmla="*/ 16 w 214"/>
                  <a:gd name="T61" fmla="*/ 187 h 250"/>
                  <a:gd name="T62" fmla="*/ 4 w 214"/>
                  <a:gd name="T63" fmla="*/ 157 h 250"/>
                  <a:gd name="T64" fmla="*/ 0 w 214"/>
                  <a:gd name="T65" fmla="*/ 126 h 250"/>
                  <a:gd name="T66" fmla="*/ 7 w 214"/>
                  <a:gd name="T67" fmla="*/ 84 h 250"/>
                  <a:gd name="T68" fmla="*/ 23 w 214"/>
                  <a:gd name="T69" fmla="*/ 49 h 250"/>
                  <a:gd name="T70" fmla="*/ 48 w 214"/>
                  <a:gd name="T71" fmla="*/ 24 h 250"/>
                  <a:gd name="T72" fmla="*/ 83 w 214"/>
                  <a:gd name="T73" fmla="*/ 5 h 250"/>
                  <a:gd name="T74" fmla="*/ 125 w 214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4" h="250">
                    <a:moveTo>
                      <a:pt x="125" y="0"/>
                    </a:moveTo>
                    <a:lnTo>
                      <a:pt x="156" y="3"/>
                    </a:lnTo>
                    <a:lnTo>
                      <a:pt x="186" y="17"/>
                    </a:lnTo>
                    <a:lnTo>
                      <a:pt x="209" y="38"/>
                    </a:lnTo>
                    <a:lnTo>
                      <a:pt x="181" y="56"/>
                    </a:lnTo>
                    <a:lnTo>
                      <a:pt x="165" y="42"/>
                    </a:lnTo>
                    <a:lnTo>
                      <a:pt x="146" y="33"/>
                    </a:lnTo>
                    <a:lnTo>
                      <a:pt x="123" y="31"/>
                    </a:lnTo>
                    <a:lnTo>
                      <a:pt x="95" y="35"/>
                    </a:lnTo>
                    <a:lnTo>
                      <a:pt x="69" y="49"/>
                    </a:lnTo>
                    <a:lnTo>
                      <a:pt x="51" y="70"/>
                    </a:lnTo>
                    <a:lnTo>
                      <a:pt x="39" y="96"/>
                    </a:lnTo>
                    <a:lnTo>
                      <a:pt x="34" y="126"/>
                    </a:lnTo>
                    <a:lnTo>
                      <a:pt x="39" y="157"/>
                    </a:lnTo>
                    <a:lnTo>
                      <a:pt x="51" y="182"/>
                    </a:lnTo>
                    <a:lnTo>
                      <a:pt x="69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9" y="217"/>
                    </a:lnTo>
                    <a:lnTo>
                      <a:pt x="169" y="206"/>
                    </a:lnTo>
                    <a:lnTo>
                      <a:pt x="186" y="189"/>
                    </a:lnTo>
                    <a:lnTo>
                      <a:pt x="214" y="208"/>
                    </a:lnTo>
                    <a:lnTo>
                      <a:pt x="207" y="217"/>
                    </a:lnTo>
                    <a:lnTo>
                      <a:pt x="195" y="229"/>
                    </a:lnTo>
                    <a:lnTo>
                      <a:pt x="176" y="238"/>
                    </a:lnTo>
                    <a:lnTo>
                      <a:pt x="153" y="248"/>
                    </a:lnTo>
                    <a:lnTo>
                      <a:pt x="123" y="250"/>
                    </a:lnTo>
                    <a:lnTo>
                      <a:pt x="88" y="245"/>
                    </a:lnTo>
                    <a:lnTo>
                      <a:pt x="58" y="231"/>
                    </a:lnTo>
                    <a:lnTo>
                      <a:pt x="32" y="213"/>
                    </a:lnTo>
                    <a:lnTo>
                      <a:pt x="16" y="187"/>
                    </a:lnTo>
                    <a:lnTo>
                      <a:pt x="4" y="157"/>
                    </a:lnTo>
                    <a:lnTo>
                      <a:pt x="0" y="126"/>
                    </a:lnTo>
                    <a:lnTo>
                      <a:pt x="7" y="84"/>
                    </a:lnTo>
                    <a:lnTo>
                      <a:pt x="23" y="49"/>
                    </a:lnTo>
                    <a:lnTo>
                      <a:pt x="48" y="24"/>
                    </a:lnTo>
                    <a:lnTo>
                      <a:pt x="83" y="5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17"/>
              <p:cNvSpPr>
                <a:spLocks/>
              </p:cNvSpPr>
              <p:nvPr userDrawn="1"/>
            </p:nvSpPr>
            <p:spPr bwMode="auto">
              <a:xfrm>
                <a:off x="5719763" y="4773613"/>
                <a:ext cx="290513" cy="388938"/>
              </a:xfrm>
              <a:custGeom>
                <a:avLst/>
                <a:gdLst>
                  <a:gd name="T0" fmla="*/ 0 w 183"/>
                  <a:gd name="T1" fmla="*/ 0 h 245"/>
                  <a:gd name="T2" fmla="*/ 32 w 183"/>
                  <a:gd name="T3" fmla="*/ 0 h 245"/>
                  <a:gd name="T4" fmla="*/ 32 w 183"/>
                  <a:gd name="T5" fmla="*/ 147 h 245"/>
                  <a:gd name="T6" fmla="*/ 35 w 183"/>
                  <a:gd name="T7" fmla="*/ 166 h 245"/>
                  <a:gd name="T8" fmla="*/ 39 w 183"/>
                  <a:gd name="T9" fmla="*/ 184 h 245"/>
                  <a:gd name="T10" fmla="*/ 51 w 183"/>
                  <a:gd name="T11" fmla="*/ 201 h 245"/>
                  <a:gd name="T12" fmla="*/ 67 w 183"/>
                  <a:gd name="T13" fmla="*/ 212 h 245"/>
                  <a:gd name="T14" fmla="*/ 93 w 183"/>
                  <a:gd name="T15" fmla="*/ 215 h 245"/>
                  <a:gd name="T16" fmla="*/ 116 w 183"/>
                  <a:gd name="T17" fmla="*/ 212 h 245"/>
                  <a:gd name="T18" fmla="*/ 132 w 183"/>
                  <a:gd name="T19" fmla="*/ 201 h 245"/>
                  <a:gd name="T20" fmla="*/ 144 w 183"/>
                  <a:gd name="T21" fmla="*/ 184 h 245"/>
                  <a:gd name="T22" fmla="*/ 151 w 183"/>
                  <a:gd name="T23" fmla="*/ 166 h 245"/>
                  <a:gd name="T24" fmla="*/ 151 w 183"/>
                  <a:gd name="T25" fmla="*/ 147 h 245"/>
                  <a:gd name="T26" fmla="*/ 151 w 183"/>
                  <a:gd name="T27" fmla="*/ 0 h 245"/>
                  <a:gd name="T28" fmla="*/ 183 w 183"/>
                  <a:gd name="T29" fmla="*/ 0 h 245"/>
                  <a:gd name="T30" fmla="*/ 183 w 183"/>
                  <a:gd name="T31" fmla="*/ 152 h 245"/>
                  <a:gd name="T32" fmla="*/ 179 w 183"/>
                  <a:gd name="T33" fmla="*/ 184 h 245"/>
                  <a:gd name="T34" fmla="*/ 167 w 183"/>
                  <a:gd name="T35" fmla="*/ 210 h 245"/>
                  <a:gd name="T36" fmla="*/ 146 w 183"/>
                  <a:gd name="T37" fmla="*/ 229 h 245"/>
                  <a:gd name="T38" fmla="*/ 121 w 183"/>
                  <a:gd name="T39" fmla="*/ 240 h 245"/>
                  <a:gd name="T40" fmla="*/ 93 w 183"/>
                  <a:gd name="T41" fmla="*/ 245 h 245"/>
                  <a:gd name="T42" fmla="*/ 62 w 183"/>
                  <a:gd name="T43" fmla="*/ 240 h 245"/>
                  <a:gd name="T44" fmla="*/ 37 w 183"/>
                  <a:gd name="T45" fmla="*/ 229 h 245"/>
                  <a:gd name="T46" fmla="*/ 16 w 183"/>
                  <a:gd name="T47" fmla="*/ 210 h 245"/>
                  <a:gd name="T48" fmla="*/ 4 w 183"/>
                  <a:gd name="T49" fmla="*/ 184 h 245"/>
                  <a:gd name="T50" fmla="*/ 0 w 183"/>
                  <a:gd name="T51" fmla="*/ 152 h 245"/>
                  <a:gd name="T52" fmla="*/ 0 w 183"/>
                  <a:gd name="T53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3" h="245">
                    <a:moveTo>
                      <a:pt x="0" y="0"/>
                    </a:moveTo>
                    <a:lnTo>
                      <a:pt x="32" y="0"/>
                    </a:lnTo>
                    <a:lnTo>
                      <a:pt x="32" y="147"/>
                    </a:lnTo>
                    <a:lnTo>
                      <a:pt x="35" y="166"/>
                    </a:lnTo>
                    <a:lnTo>
                      <a:pt x="39" y="184"/>
                    </a:lnTo>
                    <a:lnTo>
                      <a:pt x="51" y="201"/>
                    </a:lnTo>
                    <a:lnTo>
                      <a:pt x="67" y="212"/>
                    </a:lnTo>
                    <a:lnTo>
                      <a:pt x="93" y="215"/>
                    </a:lnTo>
                    <a:lnTo>
                      <a:pt x="116" y="212"/>
                    </a:lnTo>
                    <a:lnTo>
                      <a:pt x="132" y="201"/>
                    </a:lnTo>
                    <a:lnTo>
                      <a:pt x="144" y="184"/>
                    </a:lnTo>
                    <a:lnTo>
                      <a:pt x="151" y="166"/>
                    </a:lnTo>
                    <a:lnTo>
                      <a:pt x="151" y="147"/>
                    </a:lnTo>
                    <a:lnTo>
                      <a:pt x="151" y="0"/>
                    </a:lnTo>
                    <a:lnTo>
                      <a:pt x="183" y="0"/>
                    </a:lnTo>
                    <a:lnTo>
                      <a:pt x="183" y="152"/>
                    </a:lnTo>
                    <a:lnTo>
                      <a:pt x="179" y="184"/>
                    </a:lnTo>
                    <a:lnTo>
                      <a:pt x="167" y="210"/>
                    </a:lnTo>
                    <a:lnTo>
                      <a:pt x="146" y="229"/>
                    </a:lnTo>
                    <a:lnTo>
                      <a:pt x="121" y="240"/>
                    </a:lnTo>
                    <a:lnTo>
                      <a:pt x="93" y="245"/>
                    </a:lnTo>
                    <a:lnTo>
                      <a:pt x="62" y="240"/>
                    </a:lnTo>
                    <a:lnTo>
                      <a:pt x="37" y="229"/>
                    </a:lnTo>
                    <a:lnTo>
                      <a:pt x="16" y="210"/>
                    </a:lnTo>
                    <a:lnTo>
                      <a:pt x="4" y="184"/>
                    </a:lnTo>
                    <a:lnTo>
                      <a:pt x="0" y="1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18"/>
              <p:cNvSpPr>
                <a:spLocks noEditPoints="1"/>
              </p:cNvSpPr>
              <p:nvPr userDrawn="1"/>
            </p:nvSpPr>
            <p:spPr bwMode="auto">
              <a:xfrm>
                <a:off x="6103938" y="4773613"/>
                <a:ext cx="269875" cy="381000"/>
              </a:xfrm>
              <a:custGeom>
                <a:avLst/>
                <a:gdLst>
                  <a:gd name="T0" fmla="*/ 32 w 170"/>
                  <a:gd name="T1" fmla="*/ 28 h 240"/>
                  <a:gd name="T2" fmla="*/ 32 w 170"/>
                  <a:gd name="T3" fmla="*/ 105 h 240"/>
                  <a:gd name="T4" fmla="*/ 74 w 170"/>
                  <a:gd name="T5" fmla="*/ 105 h 240"/>
                  <a:gd name="T6" fmla="*/ 88 w 170"/>
                  <a:gd name="T7" fmla="*/ 105 h 240"/>
                  <a:gd name="T8" fmla="*/ 102 w 170"/>
                  <a:gd name="T9" fmla="*/ 103 h 240"/>
                  <a:gd name="T10" fmla="*/ 114 w 170"/>
                  <a:gd name="T11" fmla="*/ 96 h 240"/>
                  <a:gd name="T12" fmla="*/ 123 w 170"/>
                  <a:gd name="T13" fmla="*/ 84 h 240"/>
                  <a:gd name="T14" fmla="*/ 125 w 170"/>
                  <a:gd name="T15" fmla="*/ 68 h 240"/>
                  <a:gd name="T16" fmla="*/ 123 w 170"/>
                  <a:gd name="T17" fmla="*/ 51 h 240"/>
                  <a:gd name="T18" fmla="*/ 114 w 170"/>
                  <a:gd name="T19" fmla="*/ 40 h 240"/>
                  <a:gd name="T20" fmla="*/ 102 w 170"/>
                  <a:gd name="T21" fmla="*/ 33 h 240"/>
                  <a:gd name="T22" fmla="*/ 88 w 170"/>
                  <a:gd name="T23" fmla="*/ 30 h 240"/>
                  <a:gd name="T24" fmla="*/ 74 w 170"/>
                  <a:gd name="T25" fmla="*/ 28 h 240"/>
                  <a:gd name="T26" fmla="*/ 32 w 170"/>
                  <a:gd name="T27" fmla="*/ 28 h 240"/>
                  <a:gd name="T28" fmla="*/ 0 w 170"/>
                  <a:gd name="T29" fmla="*/ 0 h 240"/>
                  <a:gd name="T30" fmla="*/ 83 w 170"/>
                  <a:gd name="T31" fmla="*/ 0 h 240"/>
                  <a:gd name="T32" fmla="*/ 109 w 170"/>
                  <a:gd name="T33" fmla="*/ 2 h 240"/>
                  <a:gd name="T34" fmla="*/ 130 w 170"/>
                  <a:gd name="T35" fmla="*/ 12 h 240"/>
                  <a:gd name="T36" fmla="*/ 144 w 170"/>
                  <a:gd name="T37" fmla="*/ 23 h 240"/>
                  <a:gd name="T38" fmla="*/ 153 w 170"/>
                  <a:gd name="T39" fmla="*/ 37 h 240"/>
                  <a:gd name="T40" fmla="*/ 158 w 170"/>
                  <a:gd name="T41" fmla="*/ 51 h 240"/>
                  <a:gd name="T42" fmla="*/ 160 w 170"/>
                  <a:gd name="T43" fmla="*/ 68 h 240"/>
                  <a:gd name="T44" fmla="*/ 156 w 170"/>
                  <a:gd name="T45" fmla="*/ 89 h 240"/>
                  <a:gd name="T46" fmla="*/ 144 w 170"/>
                  <a:gd name="T47" fmla="*/ 110 h 240"/>
                  <a:gd name="T48" fmla="*/ 125 w 170"/>
                  <a:gd name="T49" fmla="*/ 124 h 240"/>
                  <a:gd name="T50" fmla="*/ 102 w 170"/>
                  <a:gd name="T51" fmla="*/ 131 h 240"/>
                  <a:gd name="T52" fmla="*/ 170 w 170"/>
                  <a:gd name="T53" fmla="*/ 240 h 240"/>
                  <a:gd name="T54" fmla="*/ 128 w 170"/>
                  <a:gd name="T55" fmla="*/ 240 h 240"/>
                  <a:gd name="T56" fmla="*/ 67 w 170"/>
                  <a:gd name="T57" fmla="*/ 135 h 240"/>
                  <a:gd name="T58" fmla="*/ 32 w 170"/>
                  <a:gd name="T59" fmla="*/ 135 h 240"/>
                  <a:gd name="T60" fmla="*/ 32 w 170"/>
                  <a:gd name="T61" fmla="*/ 240 h 240"/>
                  <a:gd name="T62" fmla="*/ 0 w 170"/>
                  <a:gd name="T63" fmla="*/ 240 h 240"/>
                  <a:gd name="T64" fmla="*/ 0 w 170"/>
                  <a:gd name="T6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0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88" y="105"/>
                    </a:lnTo>
                    <a:lnTo>
                      <a:pt x="102" y="103"/>
                    </a:lnTo>
                    <a:lnTo>
                      <a:pt x="114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1"/>
                    </a:lnTo>
                    <a:lnTo>
                      <a:pt x="114" y="40"/>
                    </a:lnTo>
                    <a:lnTo>
                      <a:pt x="102" y="33"/>
                    </a:lnTo>
                    <a:lnTo>
                      <a:pt x="88" y="30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09" y="2"/>
                    </a:lnTo>
                    <a:lnTo>
                      <a:pt x="130" y="12"/>
                    </a:lnTo>
                    <a:lnTo>
                      <a:pt x="144" y="23"/>
                    </a:lnTo>
                    <a:lnTo>
                      <a:pt x="153" y="37"/>
                    </a:lnTo>
                    <a:lnTo>
                      <a:pt x="158" y="51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2" y="131"/>
                    </a:lnTo>
                    <a:lnTo>
                      <a:pt x="170" y="240"/>
                    </a:lnTo>
                    <a:lnTo>
                      <a:pt x="128" y="240"/>
                    </a:lnTo>
                    <a:lnTo>
                      <a:pt x="67" y="135"/>
                    </a:lnTo>
                    <a:lnTo>
                      <a:pt x="32" y="135"/>
                    </a:lnTo>
                    <a:lnTo>
                      <a:pt x="32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19"/>
              <p:cNvSpPr>
                <a:spLocks/>
              </p:cNvSpPr>
              <p:nvPr userDrawn="1"/>
            </p:nvSpPr>
            <p:spPr bwMode="auto">
              <a:xfrm>
                <a:off x="6427788" y="4773613"/>
                <a:ext cx="255588" cy="381000"/>
              </a:xfrm>
              <a:custGeom>
                <a:avLst/>
                <a:gdLst>
                  <a:gd name="T0" fmla="*/ 0 w 161"/>
                  <a:gd name="T1" fmla="*/ 0 h 240"/>
                  <a:gd name="T2" fmla="*/ 156 w 161"/>
                  <a:gd name="T3" fmla="*/ 0 h 240"/>
                  <a:gd name="T4" fmla="*/ 156 w 161"/>
                  <a:gd name="T5" fmla="*/ 30 h 240"/>
                  <a:gd name="T6" fmla="*/ 33 w 161"/>
                  <a:gd name="T7" fmla="*/ 30 h 240"/>
                  <a:gd name="T8" fmla="*/ 33 w 161"/>
                  <a:gd name="T9" fmla="*/ 103 h 240"/>
                  <a:gd name="T10" fmla="*/ 147 w 161"/>
                  <a:gd name="T11" fmla="*/ 103 h 240"/>
                  <a:gd name="T12" fmla="*/ 147 w 161"/>
                  <a:gd name="T13" fmla="*/ 133 h 240"/>
                  <a:gd name="T14" fmla="*/ 33 w 161"/>
                  <a:gd name="T15" fmla="*/ 133 h 240"/>
                  <a:gd name="T16" fmla="*/ 33 w 161"/>
                  <a:gd name="T17" fmla="*/ 210 h 240"/>
                  <a:gd name="T18" fmla="*/ 161 w 161"/>
                  <a:gd name="T19" fmla="*/ 210 h 240"/>
                  <a:gd name="T20" fmla="*/ 161 w 161"/>
                  <a:gd name="T21" fmla="*/ 240 h 240"/>
                  <a:gd name="T22" fmla="*/ 0 w 161"/>
                  <a:gd name="T23" fmla="*/ 240 h 240"/>
                  <a:gd name="T24" fmla="*/ 0 w 161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1" h="240">
                    <a:moveTo>
                      <a:pt x="0" y="0"/>
                    </a:moveTo>
                    <a:lnTo>
                      <a:pt x="156" y="0"/>
                    </a:lnTo>
                    <a:lnTo>
                      <a:pt x="156" y="30"/>
                    </a:lnTo>
                    <a:lnTo>
                      <a:pt x="33" y="30"/>
                    </a:lnTo>
                    <a:lnTo>
                      <a:pt x="33" y="103"/>
                    </a:lnTo>
                    <a:lnTo>
                      <a:pt x="147" y="103"/>
                    </a:lnTo>
                    <a:lnTo>
                      <a:pt x="147" y="133"/>
                    </a:lnTo>
                    <a:lnTo>
                      <a:pt x="33" y="133"/>
                    </a:lnTo>
                    <a:lnTo>
                      <a:pt x="33" y="210"/>
                    </a:lnTo>
                    <a:lnTo>
                      <a:pt x="161" y="210"/>
                    </a:lnTo>
                    <a:lnTo>
                      <a:pt x="161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20"/>
              <p:cNvSpPr>
                <a:spLocks/>
              </p:cNvSpPr>
              <p:nvPr userDrawn="1"/>
            </p:nvSpPr>
            <p:spPr bwMode="auto">
              <a:xfrm>
                <a:off x="6883400" y="4765676"/>
                <a:ext cx="334963" cy="396875"/>
              </a:xfrm>
              <a:custGeom>
                <a:avLst/>
                <a:gdLst>
                  <a:gd name="T0" fmla="*/ 123 w 211"/>
                  <a:gd name="T1" fmla="*/ 0 h 250"/>
                  <a:gd name="T2" fmla="*/ 156 w 211"/>
                  <a:gd name="T3" fmla="*/ 3 h 250"/>
                  <a:gd name="T4" fmla="*/ 184 w 211"/>
                  <a:gd name="T5" fmla="*/ 17 h 250"/>
                  <a:gd name="T6" fmla="*/ 207 w 211"/>
                  <a:gd name="T7" fmla="*/ 38 h 250"/>
                  <a:gd name="T8" fmla="*/ 181 w 211"/>
                  <a:gd name="T9" fmla="*/ 56 h 250"/>
                  <a:gd name="T10" fmla="*/ 165 w 211"/>
                  <a:gd name="T11" fmla="*/ 42 h 250"/>
                  <a:gd name="T12" fmla="*/ 144 w 211"/>
                  <a:gd name="T13" fmla="*/ 33 h 250"/>
                  <a:gd name="T14" fmla="*/ 123 w 211"/>
                  <a:gd name="T15" fmla="*/ 31 h 250"/>
                  <a:gd name="T16" fmla="*/ 93 w 211"/>
                  <a:gd name="T17" fmla="*/ 35 h 250"/>
                  <a:gd name="T18" fmla="*/ 67 w 211"/>
                  <a:gd name="T19" fmla="*/ 49 h 250"/>
                  <a:gd name="T20" fmla="*/ 49 w 211"/>
                  <a:gd name="T21" fmla="*/ 70 h 250"/>
                  <a:gd name="T22" fmla="*/ 37 w 211"/>
                  <a:gd name="T23" fmla="*/ 96 h 250"/>
                  <a:gd name="T24" fmla="*/ 35 w 211"/>
                  <a:gd name="T25" fmla="*/ 126 h 250"/>
                  <a:gd name="T26" fmla="*/ 37 w 211"/>
                  <a:gd name="T27" fmla="*/ 157 h 250"/>
                  <a:gd name="T28" fmla="*/ 49 w 211"/>
                  <a:gd name="T29" fmla="*/ 182 h 250"/>
                  <a:gd name="T30" fmla="*/ 67 w 211"/>
                  <a:gd name="T31" fmla="*/ 201 h 250"/>
                  <a:gd name="T32" fmla="*/ 93 w 211"/>
                  <a:gd name="T33" fmla="*/ 215 h 250"/>
                  <a:gd name="T34" fmla="*/ 123 w 211"/>
                  <a:gd name="T35" fmla="*/ 220 h 250"/>
                  <a:gd name="T36" fmla="*/ 149 w 211"/>
                  <a:gd name="T37" fmla="*/ 217 h 250"/>
                  <a:gd name="T38" fmla="*/ 170 w 211"/>
                  <a:gd name="T39" fmla="*/ 206 h 250"/>
                  <a:gd name="T40" fmla="*/ 186 w 211"/>
                  <a:gd name="T41" fmla="*/ 189 h 250"/>
                  <a:gd name="T42" fmla="*/ 211 w 211"/>
                  <a:gd name="T43" fmla="*/ 208 h 250"/>
                  <a:gd name="T44" fmla="*/ 205 w 211"/>
                  <a:gd name="T45" fmla="*/ 217 h 250"/>
                  <a:gd name="T46" fmla="*/ 193 w 211"/>
                  <a:gd name="T47" fmla="*/ 229 h 250"/>
                  <a:gd name="T48" fmla="*/ 174 w 211"/>
                  <a:gd name="T49" fmla="*/ 238 h 250"/>
                  <a:gd name="T50" fmla="*/ 151 w 211"/>
                  <a:gd name="T51" fmla="*/ 248 h 250"/>
                  <a:gd name="T52" fmla="*/ 121 w 211"/>
                  <a:gd name="T53" fmla="*/ 250 h 250"/>
                  <a:gd name="T54" fmla="*/ 86 w 211"/>
                  <a:gd name="T55" fmla="*/ 245 h 250"/>
                  <a:gd name="T56" fmla="*/ 56 w 211"/>
                  <a:gd name="T57" fmla="*/ 231 h 250"/>
                  <a:gd name="T58" fmla="*/ 32 w 211"/>
                  <a:gd name="T59" fmla="*/ 213 h 250"/>
                  <a:gd name="T60" fmla="*/ 14 w 211"/>
                  <a:gd name="T61" fmla="*/ 187 h 250"/>
                  <a:gd name="T62" fmla="*/ 2 w 211"/>
                  <a:gd name="T63" fmla="*/ 157 h 250"/>
                  <a:gd name="T64" fmla="*/ 0 w 211"/>
                  <a:gd name="T65" fmla="*/ 126 h 250"/>
                  <a:gd name="T66" fmla="*/ 4 w 211"/>
                  <a:gd name="T67" fmla="*/ 84 h 250"/>
                  <a:gd name="T68" fmla="*/ 21 w 211"/>
                  <a:gd name="T69" fmla="*/ 49 h 250"/>
                  <a:gd name="T70" fmla="*/ 49 w 211"/>
                  <a:gd name="T71" fmla="*/ 24 h 250"/>
                  <a:gd name="T72" fmla="*/ 83 w 211"/>
                  <a:gd name="T73" fmla="*/ 5 h 250"/>
                  <a:gd name="T74" fmla="*/ 123 w 211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1" h="250">
                    <a:moveTo>
                      <a:pt x="123" y="0"/>
                    </a:moveTo>
                    <a:lnTo>
                      <a:pt x="156" y="3"/>
                    </a:lnTo>
                    <a:lnTo>
                      <a:pt x="184" y="17"/>
                    </a:lnTo>
                    <a:lnTo>
                      <a:pt x="207" y="38"/>
                    </a:lnTo>
                    <a:lnTo>
                      <a:pt x="181" y="56"/>
                    </a:lnTo>
                    <a:lnTo>
                      <a:pt x="165" y="42"/>
                    </a:lnTo>
                    <a:lnTo>
                      <a:pt x="144" y="33"/>
                    </a:lnTo>
                    <a:lnTo>
                      <a:pt x="123" y="31"/>
                    </a:lnTo>
                    <a:lnTo>
                      <a:pt x="93" y="35"/>
                    </a:lnTo>
                    <a:lnTo>
                      <a:pt x="67" y="49"/>
                    </a:lnTo>
                    <a:lnTo>
                      <a:pt x="49" y="70"/>
                    </a:lnTo>
                    <a:lnTo>
                      <a:pt x="37" y="96"/>
                    </a:lnTo>
                    <a:lnTo>
                      <a:pt x="35" y="126"/>
                    </a:lnTo>
                    <a:lnTo>
                      <a:pt x="37" y="157"/>
                    </a:lnTo>
                    <a:lnTo>
                      <a:pt x="49" y="182"/>
                    </a:lnTo>
                    <a:lnTo>
                      <a:pt x="67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9" y="217"/>
                    </a:lnTo>
                    <a:lnTo>
                      <a:pt x="170" y="206"/>
                    </a:lnTo>
                    <a:lnTo>
                      <a:pt x="186" y="189"/>
                    </a:lnTo>
                    <a:lnTo>
                      <a:pt x="211" y="208"/>
                    </a:lnTo>
                    <a:lnTo>
                      <a:pt x="205" y="217"/>
                    </a:lnTo>
                    <a:lnTo>
                      <a:pt x="193" y="229"/>
                    </a:lnTo>
                    <a:lnTo>
                      <a:pt x="174" y="238"/>
                    </a:lnTo>
                    <a:lnTo>
                      <a:pt x="151" y="248"/>
                    </a:lnTo>
                    <a:lnTo>
                      <a:pt x="121" y="250"/>
                    </a:lnTo>
                    <a:lnTo>
                      <a:pt x="86" y="245"/>
                    </a:lnTo>
                    <a:lnTo>
                      <a:pt x="56" y="231"/>
                    </a:lnTo>
                    <a:lnTo>
                      <a:pt x="32" y="213"/>
                    </a:lnTo>
                    <a:lnTo>
                      <a:pt x="14" y="187"/>
                    </a:lnTo>
                    <a:lnTo>
                      <a:pt x="2" y="157"/>
                    </a:lnTo>
                    <a:lnTo>
                      <a:pt x="0" y="126"/>
                    </a:lnTo>
                    <a:lnTo>
                      <a:pt x="4" y="84"/>
                    </a:lnTo>
                    <a:lnTo>
                      <a:pt x="21" y="49"/>
                    </a:lnTo>
                    <a:lnTo>
                      <a:pt x="49" y="24"/>
                    </a:lnTo>
                    <a:lnTo>
                      <a:pt x="83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21"/>
              <p:cNvSpPr>
                <a:spLocks noEditPoints="1"/>
              </p:cNvSpPr>
              <p:nvPr userDrawn="1"/>
            </p:nvSpPr>
            <p:spPr bwMode="auto">
              <a:xfrm>
                <a:off x="7248525" y="4765676"/>
                <a:ext cx="395288" cy="396875"/>
              </a:xfrm>
              <a:custGeom>
                <a:avLst/>
                <a:gdLst>
                  <a:gd name="T0" fmla="*/ 123 w 249"/>
                  <a:gd name="T1" fmla="*/ 31 h 250"/>
                  <a:gd name="T2" fmla="*/ 93 w 249"/>
                  <a:gd name="T3" fmla="*/ 35 h 250"/>
                  <a:gd name="T4" fmla="*/ 70 w 249"/>
                  <a:gd name="T5" fmla="*/ 49 h 250"/>
                  <a:gd name="T6" fmla="*/ 49 w 249"/>
                  <a:gd name="T7" fmla="*/ 68 h 250"/>
                  <a:gd name="T8" fmla="*/ 37 w 249"/>
                  <a:gd name="T9" fmla="*/ 96 h 250"/>
                  <a:gd name="T10" fmla="*/ 35 w 249"/>
                  <a:gd name="T11" fmla="*/ 124 h 250"/>
                  <a:gd name="T12" fmla="*/ 37 w 249"/>
                  <a:gd name="T13" fmla="*/ 154 h 250"/>
                  <a:gd name="T14" fmla="*/ 49 w 249"/>
                  <a:gd name="T15" fmla="*/ 182 h 250"/>
                  <a:gd name="T16" fmla="*/ 70 w 249"/>
                  <a:gd name="T17" fmla="*/ 201 h 250"/>
                  <a:gd name="T18" fmla="*/ 93 w 249"/>
                  <a:gd name="T19" fmla="*/ 215 h 250"/>
                  <a:gd name="T20" fmla="*/ 123 w 249"/>
                  <a:gd name="T21" fmla="*/ 220 h 250"/>
                  <a:gd name="T22" fmla="*/ 154 w 249"/>
                  <a:gd name="T23" fmla="*/ 215 h 250"/>
                  <a:gd name="T24" fmla="*/ 179 w 249"/>
                  <a:gd name="T25" fmla="*/ 201 h 250"/>
                  <a:gd name="T26" fmla="*/ 198 w 249"/>
                  <a:gd name="T27" fmla="*/ 182 h 250"/>
                  <a:gd name="T28" fmla="*/ 210 w 249"/>
                  <a:gd name="T29" fmla="*/ 154 h 250"/>
                  <a:gd name="T30" fmla="*/ 214 w 249"/>
                  <a:gd name="T31" fmla="*/ 124 h 250"/>
                  <a:gd name="T32" fmla="*/ 210 w 249"/>
                  <a:gd name="T33" fmla="*/ 96 h 250"/>
                  <a:gd name="T34" fmla="*/ 198 w 249"/>
                  <a:gd name="T35" fmla="*/ 68 h 250"/>
                  <a:gd name="T36" fmla="*/ 179 w 249"/>
                  <a:gd name="T37" fmla="*/ 49 h 250"/>
                  <a:gd name="T38" fmla="*/ 154 w 249"/>
                  <a:gd name="T39" fmla="*/ 35 h 250"/>
                  <a:gd name="T40" fmla="*/ 123 w 249"/>
                  <a:gd name="T41" fmla="*/ 31 h 250"/>
                  <a:gd name="T42" fmla="*/ 123 w 249"/>
                  <a:gd name="T43" fmla="*/ 0 h 250"/>
                  <a:gd name="T44" fmla="*/ 165 w 249"/>
                  <a:gd name="T45" fmla="*/ 5 h 250"/>
                  <a:gd name="T46" fmla="*/ 200 w 249"/>
                  <a:gd name="T47" fmla="*/ 24 h 250"/>
                  <a:gd name="T48" fmla="*/ 226 w 249"/>
                  <a:gd name="T49" fmla="*/ 49 h 250"/>
                  <a:gd name="T50" fmla="*/ 242 w 249"/>
                  <a:gd name="T51" fmla="*/ 84 h 250"/>
                  <a:gd name="T52" fmla="*/ 249 w 249"/>
                  <a:gd name="T53" fmla="*/ 124 h 250"/>
                  <a:gd name="T54" fmla="*/ 242 w 249"/>
                  <a:gd name="T55" fmla="*/ 166 h 250"/>
                  <a:gd name="T56" fmla="*/ 226 w 249"/>
                  <a:gd name="T57" fmla="*/ 201 h 250"/>
                  <a:gd name="T58" fmla="*/ 200 w 249"/>
                  <a:gd name="T59" fmla="*/ 227 h 250"/>
                  <a:gd name="T60" fmla="*/ 165 w 249"/>
                  <a:gd name="T61" fmla="*/ 245 h 250"/>
                  <a:gd name="T62" fmla="*/ 123 w 249"/>
                  <a:gd name="T63" fmla="*/ 250 h 250"/>
                  <a:gd name="T64" fmla="*/ 84 w 249"/>
                  <a:gd name="T65" fmla="*/ 245 h 250"/>
                  <a:gd name="T66" fmla="*/ 49 w 249"/>
                  <a:gd name="T67" fmla="*/ 227 h 250"/>
                  <a:gd name="T68" fmla="*/ 23 w 249"/>
                  <a:gd name="T69" fmla="*/ 201 h 250"/>
                  <a:gd name="T70" fmla="*/ 5 w 249"/>
                  <a:gd name="T71" fmla="*/ 166 h 250"/>
                  <a:gd name="T72" fmla="*/ 0 w 249"/>
                  <a:gd name="T73" fmla="*/ 124 h 250"/>
                  <a:gd name="T74" fmla="*/ 5 w 249"/>
                  <a:gd name="T75" fmla="*/ 84 h 250"/>
                  <a:gd name="T76" fmla="*/ 23 w 249"/>
                  <a:gd name="T77" fmla="*/ 49 h 250"/>
                  <a:gd name="T78" fmla="*/ 49 w 249"/>
                  <a:gd name="T79" fmla="*/ 24 h 250"/>
                  <a:gd name="T80" fmla="*/ 84 w 249"/>
                  <a:gd name="T81" fmla="*/ 5 h 250"/>
                  <a:gd name="T82" fmla="*/ 123 w 249"/>
                  <a:gd name="T83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0">
                    <a:moveTo>
                      <a:pt x="123" y="31"/>
                    </a:moveTo>
                    <a:lnTo>
                      <a:pt x="93" y="35"/>
                    </a:lnTo>
                    <a:lnTo>
                      <a:pt x="70" y="49"/>
                    </a:lnTo>
                    <a:lnTo>
                      <a:pt x="49" y="68"/>
                    </a:lnTo>
                    <a:lnTo>
                      <a:pt x="37" y="96"/>
                    </a:lnTo>
                    <a:lnTo>
                      <a:pt x="35" y="124"/>
                    </a:lnTo>
                    <a:lnTo>
                      <a:pt x="37" y="154"/>
                    </a:lnTo>
                    <a:lnTo>
                      <a:pt x="49" y="182"/>
                    </a:lnTo>
                    <a:lnTo>
                      <a:pt x="70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54" y="215"/>
                    </a:lnTo>
                    <a:lnTo>
                      <a:pt x="179" y="201"/>
                    </a:lnTo>
                    <a:lnTo>
                      <a:pt x="198" y="182"/>
                    </a:lnTo>
                    <a:lnTo>
                      <a:pt x="210" y="154"/>
                    </a:lnTo>
                    <a:lnTo>
                      <a:pt x="214" y="124"/>
                    </a:lnTo>
                    <a:lnTo>
                      <a:pt x="210" y="96"/>
                    </a:lnTo>
                    <a:lnTo>
                      <a:pt x="198" y="68"/>
                    </a:lnTo>
                    <a:lnTo>
                      <a:pt x="179" y="49"/>
                    </a:lnTo>
                    <a:lnTo>
                      <a:pt x="154" y="35"/>
                    </a:lnTo>
                    <a:lnTo>
                      <a:pt x="123" y="31"/>
                    </a:lnTo>
                    <a:close/>
                    <a:moveTo>
                      <a:pt x="123" y="0"/>
                    </a:moveTo>
                    <a:lnTo>
                      <a:pt x="165" y="5"/>
                    </a:lnTo>
                    <a:lnTo>
                      <a:pt x="200" y="24"/>
                    </a:lnTo>
                    <a:lnTo>
                      <a:pt x="226" y="49"/>
                    </a:lnTo>
                    <a:lnTo>
                      <a:pt x="242" y="84"/>
                    </a:lnTo>
                    <a:lnTo>
                      <a:pt x="249" y="124"/>
                    </a:lnTo>
                    <a:lnTo>
                      <a:pt x="242" y="166"/>
                    </a:lnTo>
                    <a:lnTo>
                      <a:pt x="226" y="201"/>
                    </a:lnTo>
                    <a:lnTo>
                      <a:pt x="200" y="227"/>
                    </a:lnTo>
                    <a:lnTo>
                      <a:pt x="165" y="245"/>
                    </a:lnTo>
                    <a:lnTo>
                      <a:pt x="123" y="250"/>
                    </a:lnTo>
                    <a:lnTo>
                      <a:pt x="84" y="245"/>
                    </a:lnTo>
                    <a:lnTo>
                      <a:pt x="49" y="227"/>
                    </a:lnTo>
                    <a:lnTo>
                      <a:pt x="23" y="201"/>
                    </a:lnTo>
                    <a:lnTo>
                      <a:pt x="5" y="166"/>
                    </a:lnTo>
                    <a:lnTo>
                      <a:pt x="0" y="124"/>
                    </a:lnTo>
                    <a:lnTo>
                      <a:pt x="5" y="84"/>
                    </a:lnTo>
                    <a:lnTo>
                      <a:pt x="23" y="49"/>
                    </a:lnTo>
                    <a:lnTo>
                      <a:pt x="49" y="24"/>
                    </a:lnTo>
                    <a:lnTo>
                      <a:pt x="84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22"/>
              <p:cNvSpPr>
                <a:spLocks/>
              </p:cNvSpPr>
              <p:nvPr userDrawn="1"/>
            </p:nvSpPr>
            <p:spPr bwMode="auto">
              <a:xfrm>
                <a:off x="7718425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2 w 207"/>
                  <a:gd name="T5" fmla="*/ 198 h 240"/>
                  <a:gd name="T6" fmla="*/ 174 w 207"/>
                  <a:gd name="T7" fmla="*/ 198 h 240"/>
                  <a:gd name="T8" fmla="*/ 174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5 w 207"/>
                  <a:gd name="T15" fmla="*/ 240 h 240"/>
                  <a:gd name="T16" fmla="*/ 32 w 207"/>
                  <a:gd name="T17" fmla="*/ 42 h 240"/>
                  <a:gd name="T18" fmla="*/ 32 w 207"/>
                  <a:gd name="T19" fmla="*/ 42 h 240"/>
                  <a:gd name="T20" fmla="*/ 32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2" y="198"/>
                    </a:lnTo>
                    <a:lnTo>
                      <a:pt x="174" y="198"/>
                    </a:lnTo>
                    <a:lnTo>
                      <a:pt x="174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5" y="240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2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23"/>
              <p:cNvSpPr>
                <a:spLocks/>
              </p:cNvSpPr>
              <p:nvPr userDrawn="1"/>
            </p:nvSpPr>
            <p:spPr bwMode="auto">
              <a:xfrm>
                <a:off x="8131175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5 w 207"/>
                  <a:gd name="T5" fmla="*/ 198 h 240"/>
                  <a:gd name="T6" fmla="*/ 175 w 207"/>
                  <a:gd name="T7" fmla="*/ 198 h 240"/>
                  <a:gd name="T8" fmla="*/ 175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6 w 207"/>
                  <a:gd name="T15" fmla="*/ 240 h 240"/>
                  <a:gd name="T16" fmla="*/ 33 w 207"/>
                  <a:gd name="T17" fmla="*/ 42 h 240"/>
                  <a:gd name="T18" fmla="*/ 33 w 207"/>
                  <a:gd name="T19" fmla="*/ 42 h 240"/>
                  <a:gd name="T20" fmla="*/ 33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5" y="198"/>
                    </a:lnTo>
                    <a:lnTo>
                      <a:pt x="175" y="198"/>
                    </a:lnTo>
                    <a:lnTo>
                      <a:pt x="175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6" y="240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24"/>
              <p:cNvSpPr>
                <a:spLocks/>
              </p:cNvSpPr>
              <p:nvPr userDrawn="1"/>
            </p:nvSpPr>
            <p:spPr bwMode="auto">
              <a:xfrm>
                <a:off x="8559800" y="4773613"/>
                <a:ext cx="252413" cy="381000"/>
              </a:xfrm>
              <a:custGeom>
                <a:avLst/>
                <a:gdLst>
                  <a:gd name="T0" fmla="*/ 0 w 159"/>
                  <a:gd name="T1" fmla="*/ 0 h 240"/>
                  <a:gd name="T2" fmla="*/ 154 w 159"/>
                  <a:gd name="T3" fmla="*/ 0 h 240"/>
                  <a:gd name="T4" fmla="*/ 154 w 159"/>
                  <a:gd name="T5" fmla="*/ 30 h 240"/>
                  <a:gd name="T6" fmla="*/ 31 w 159"/>
                  <a:gd name="T7" fmla="*/ 30 h 240"/>
                  <a:gd name="T8" fmla="*/ 31 w 159"/>
                  <a:gd name="T9" fmla="*/ 103 h 240"/>
                  <a:gd name="T10" fmla="*/ 145 w 159"/>
                  <a:gd name="T11" fmla="*/ 103 h 240"/>
                  <a:gd name="T12" fmla="*/ 145 w 159"/>
                  <a:gd name="T13" fmla="*/ 133 h 240"/>
                  <a:gd name="T14" fmla="*/ 31 w 159"/>
                  <a:gd name="T15" fmla="*/ 133 h 240"/>
                  <a:gd name="T16" fmla="*/ 31 w 159"/>
                  <a:gd name="T17" fmla="*/ 210 h 240"/>
                  <a:gd name="T18" fmla="*/ 159 w 159"/>
                  <a:gd name="T19" fmla="*/ 210 h 240"/>
                  <a:gd name="T20" fmla="*/ 159 w 159"/>
                  <a:gd name="T21" fmla="*/ 240 h 240"/>
                  <a:gd name="T22" fmla="*/ 0 w 159"/>
                  <a:gd name="T23" fmla="*/ 240 h 240"/>
                  <a:gd name="T24" fmla="*/ 0 w 159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9" h="240">
                    <a:moveTo>
                      <a:pt x="0" y="0"/>
                    </a:moveTo>
                    <a:lnTo>
                      <a:pt x="154" y="0"/>
                    </a:lnTo>
                    <a:lnTo>
                      <a:pt x="154" y="30"/>
                    </a:lnTo>
                    <a:lnTo>
                      <a:pt x="31" y="30"/>
                    </a:lnTo>
                    <a:lnTo>
                      <a:pt x="31" y="103"/>
                    </a:lnTo>
                    <a:lnTo>
                      <a:pt x="145" y="103"/>
                    </a:lnTo>
                    <a:lnTo>
                      <a:pt x="145" y="133"/>
                    </a:lnTo>
                    <a:lnTo>
                      <a:pt x="31" y="133"/>
                    </a:lnTo>
                    <a:lnTo>
                      <a:pt x="31" y="210"/>
                    </a:lnTo>
                    <a:lnTo>
                      <a:pt x="159" y="210"/>
                    </a:lnTo>
                    <a:lnTo>
                      <a:pt x="159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25"/>
              <p:cNvSpPr>
                <a:spLocks/>
              </p:cNvSpPr>
              <p:nvPr userDrawn="1"/>
            </p:nvSpPr>
            <p:spPr bwMode="auto">
              <a:xfrm>
                <a:off x="8863013" y="4765676"/>
                <a:ext cx="336550" cy="396875"/>
              </a:xfrm>
              <a:custGeom>
                <a:avLst/>
                <a:gdLst>
                  <a:gd name="T0" fmla="*/ 123 w 212"/>
                  <a:gd name="T1" fmla="*/ 0 h 250"/>
                  <a:gd name="T2" fmla="*/ 156 w 212"/>
                  <a:gd name="T3" fmla="*/ 3 h 250"/>
                  <a:gd name="T4" fmla="*/ 184 w 212"/>
                  <a:gd name="T5" fmla="*/ 17 h 250"/>
                  <a:gd name="T6" fmla="*/ 207 w 212"/>
                  <a:gd name="T7" fmla="*/ 38 h 250"/>
                  <a:gd name="T8" fmla="*/ 179 w 212"/>
                  <a:gd name="T9" fmla="*/ 56 h 250"/>
                  <a:gd name="T10" fmla="*/ 165 w 212"/>
                  <a:gd name="T11" fmla="*/ 42 h 250"/>
                  <a:gd name="T12" fmla="*/ 144 w 212"/>
                  <a:gd name="T13" fmla="*/ 33 h 250"/>
                  <a:gd name="T14" fmla="*/ 123 w 212"/>
                  <a:gd name="T15" fmla="*/ 31 h 250"/>
                  <a:gd name="T16" fmla="*/ 93 w 212"/>
                  <a:gd name="T17" fmla="*/ 35 h 250"/>
                  <a:gd name="T18" fmla="*/ 68 w 212"/>
                  <a:gd name="T19" fmla="*/ 49 h 250"/>
                  <a:gd name="T20" fmla="*/ 49 w 212"/>
                  <a:gd name="T21" fmla="*/ 70 h 250"/>
                  <a:gd name="T22" fmla="*/ 37 w 212"/>
                  <a:gd name="T23" fmla="*/ 96 h 250"/>
                  <a:gd name="T24" fmla="*/ 33 w 212"/>
                  <a:gd name="T25" fmla="*/ 126 h 250"/>
                  <a:gd name="T26" fmla="*/ 37 w 212"/>
                  <a:gd name="T27" fmla="*/ 157 h 250"/>
                  <a:gd name="T28" fmla="*/ 49 w 212"/>
                  <a:gd name="T29" fmla="*/ 182 h 250"/>
                  <a:gd name="T30" fmla="*/ 68 w 212"/>
                  <a:gd name="T31" fmla="*/ 201 h 250"/>
                  <a:gd name="T32" fmla="*/ 93 w 212"/>
                  <a:gd name="T33" fmla="*/ 215 h 250"/>
                  <a:gd name="T34" fmla="*/ 123 w 212"/>
                  <a:gd name="T35" fmla="*/ 220 h 250"/>
                  <a:gd name="T36" fmla="*/ 147 w 212"/>
                  <a:gd name="T37" fmla="*/ 217 h 250"/>
                  <a:gd name="T38" fmla="*/ 168 w 212"/>
                  <a:gd name="T39" fmla="*/ 206 h 250"/>
                  <a:gd name="T40" fmla="*/ 184 w 212"/>
                  <a:gd name="T41" fmla="*/ 189 h 250"/>
                  <a:gd name="T42" fmla="*/ 212 w 212"/>
                  <a:gd name="T43" fmla="*/ 208 h 250"/>
                  <a:gd name="T44" fmla="*/ 205 w 212"/>
                  <a:gd name="T45" fmla="*/ 217 h 250"/>
                  <a:gd name="T46" fmla="*/ 193 w 212"/>
                  <a:gd name="T47" fmla="*/ 229 h 250"/>
                  <a:gd name="T48" fmla="*/ 175 w 212"/>
                  <a:gd name="T49" fmla="*/ 238 h 250"/>
                  <a:gd name="T50" fmla="*/ 151 w 212"/>
                  <a:gd name="T51" fmla="*/ 248 h 250"/>
                  <a:gd name="T52" fmla="*/ 121 w 212"/>
                  <a:gd name="T53" fmla="*/ 250 h 250"/>
                  <a:gd name="T54" fmla="*/ 86 w 212"/>
                  <a:gd name="T55" fmla="*/ 245 h 250"/>
                  <a:gd name="T56" fmla="*/ 56 w 212"/>
                  <a:gd name="T57" fmla="*/ 231 h 250"/>
                  <a:gd name="T58" fmla="*/ 33 w 212"/>
                  <a:gd name="T59" fmla="*/ 213 h 250"/>
                  <a:gd name="T60" fmla="*/ 14 w 212"/>
                  <a:gd name="T61" fmla="*/ 187 h 250"/>
                  <a:gd name="T62" fmla="*/ 2 w 212"/>
                  <a:gd name="T63" fmla="*/ 157 h 250"/>
                  <a:gd name="T64" fmla="*/ 0 w 212"/>
                  <a:gd name="T65" fmla="*/ 126 h 250"/>
                  <a:gd name="T66" fmla="*/ 5 w 212"/>
                  <a:gd name="T67" fmla="*/ 84 h 250"/>
                  <a:gd name="T68" fmla="*/ 21 w 212"/>
                  <a:gd name="T69" fmla="*/ 49 h 250"/>
                  <a:gd name="T70" fmla="*/ 49 w 212"/>
                  <a:gd name="T71" fmla="*/ 24 h 250"/>
                  <a:gd name="T72" fmla="*/ 82 w 212"/>
                  <a:gd name="T73" fmla="*/ 5 h 250"/>
                  <a:gd name="T74" fmla="*/ 123 w 212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2" h="250">
                    <a:moveTo>
                      <a:pt x="123" y="0"/>
                    </a:moveTo>
                    <a:lnTo>
                      <a:pt x="156" y="3"/>
                    </a:lnTo>
                    <a:lnTo>
                      <a:pt x="184" y="17"/>
                    </a:lnTo>
                    <a:lnTo>
                      <a:pt x="207" y="38"/>
                    </a:lnTo>
                    <a:lnTo>
                      <a:pt x="179" y="56"/>
                    </a:lnTo>
                    <a:lnTo>
                      <a:pt x="165" y="42"/>
                    </a:lnTo>
                    <a:lnTo>
                      <a:pt x="144" y="33"/>
                    </a:lnTo>
                    <a:lnTo>
                      <a:pt x="123" y="31"/>
                    </a:lnTo>
                    <a:lnTo>
                      <a:pt x="93" y="35"/>
                    </a:lnTo>
                    <a:lnTo>
                      <a:pt x="68" y="49"/>
                    </a:lnTo>
                    <a:lnTo>
                      <a:pt x="49" y="70"/>
                    </a:lnTo>
                    <a:lnTo>
                      <a:pt x="37" y="96"/>
                    </a:lnTo>
                    <a:lnTo>
                      <a:pt x="33" y="126"/>
                    </a:lnTo>
                    <a:lnTo>
                      <a:pt x="37" y="157"/>
                    </a:lnTo>
                    <a:lnTo>
                      <a:pt x="49" y="182"/>
                    </a:lnTo>
                    <a:lnTo>
                      <a:pt x="68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7" y="217"/>
                    </a:lnTo>
                    <a:lnTo>
                      <a:pt x="168" y="206"/>
                    </a:lnTo>
                    <a:lnTo>
                      <a:pt x="184" y="189"/>
                    </a:lnTo>
                    <a:lnTo>
                      <a:pt x="212" y="208"/>
                    </a:lnTo>
                    <a:lnTo>
                      <a:pt x="205" y="217"/>
                    </a:lnTo>
                    <a:lnTo>
                      <a:pt x="193" y="229"/>
                    </a:lnTo>
                    <a:lnTo>
                      <a:pt x="175" y="238"/>
                    </a:lnTo>
                    <a:lnTo>
                      <a:pt x="151" y="248"/>
                    </a:lnTo>
                    <a:lnTo>
                      <a:pt x="121" y="250"/>
                    </a:lnTo>
                    <a:lnTo>
                      <a:pt x="86" y="245"/>
                    </a:lnTo>
                    <a:lnTo>
                      <a:pt x="56" y="231"/>
                    </a:lnTo>
                    <a:lnTo>
                      <a:pt x="33" y="213"/>
                    </a:lnTo>
                    <a:lnTo>
                      <a:pt x="14" y="187"/>
                    </a:lnTo>
                    <a:lnTo>
                      <a:pt x="2" y="157"/>
                    </a:lnTo>
                    <a:lnTo>
                      <a:pt x="0" y="126"/>
                    </a:lnTo>
                    <a:lnTo>
                      <a:pt x="5" y="84"/>
                    </a:lnTo>
                    <a:lnTo>
                      <a:pt x="21" y="49"/>
                    </a:lnTo>
                    <a:lnTo>
                      <a:pt x="49" y="24"/>
                    </a:lnTo>
                    <a:lnTo>
                      <a:pt x="82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26"/>
              <p:cNvSpPr>
                <a:spLocks/>
              </p:cNvSpPr>
              <p:nvPr userDrawn="1"/>
            </p:nvSpPr>
            <p:spPr bwMode="auto">
              <a:xfrm>
                <a:off x="9218613" y="4773613"/>
                <a:ext cx="295275" cy="381000"/>
              </a:xfrm>
              <a:custGeom>
                <a:avLst/>
                <a:gdLst>
                  <a:gd name="T0" fmla="*/ 0 w 186"/>
                  <a:gd name="T1" fmla="*/ 0 h 240"/>
                  <a:gd name="T2" fmla="*/ 186 w 186"/>
                  <a:gd name="T3" fmla="*/ 0 h 240"/>
                  <a:gd name="T4" fmla="*/ 186 w 186"/>
                  <a:gd name="T5" fmla="*/ 30 h 240"/>
                  <a:gd name="T6" fmla="*/ 109 w 186"/>
                  <a:gd name="T7" fmla="*/ 30 h 240"/>
                  <a:gd name="T8" fmla="*/ 109 w 186"/>
                  <a:gd name="T9" fmla="*/ 240 h 240"/>
                  <a:gd name="T10" fmla="*/ 76 w 186"/>
                  <a:gd name="T11" fmla="*/ 240 h 240"/>
                  <a:gd name="T12" fmla="*/ 76 w 186"/>
                  <a:gd name="T13" fmla="*/ 30 h 240"/>
                  <a:gd name="T14" fmla="*/ 0 w 186"/>
                  <a:gd name="T15" fmla="*/ 30 h 240"/>
                  <a:gd name="T16" fmla="*/ 0 w 186"/>
                  <a:gd name="T17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240">
                    <a:moveTo>
                      <a:pt x="0" y="0"/>
                    </a:moveTo>
                    <a:lnTo>
                      <a:pt x="186" y="0"/>
                    </a:lnTo>
                    <a:lnTo>
                      <a:pt x="186" y="30"/>
                    </a:lnTo>
                    <a:lnTo>
                      <a:pt x="109" y="30"/>
                    </a:lnTo>
                    <a:lnTo>
                      <a:pt x="109" y="240"/>
                    </a:lnTo>
                    <a:lnTo>
                      <a:pt x="76" y="240"/>
                    </a:lnTo>
                    <a:lnTo>
                      <a:pt x="76" y="30"/>
                    </a:ln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27"/>
              <p:cNvSpPr>
                <a:spLocks noChangeArrowheads="1"/>
              </p:cNvSpPr>
              <p:nvPr userDrawn="1"/>
            </p:nvSpPr>
            <p:spPr bwMode="auto">
              <a:xfrm>
                <a:off x="9569450" y="4773613"/>
                <a:ext cx="50800" cy="3810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8"/>
              <p:cNvSpPr>
                <a:spLocks noEditPoints="1"/>
              </p:cNvSpPr>
              <p:nvPr userDrawn="1"/>
            </p:nvSpPr>
            <p:spPr bwMode="auto">
              <a:xfrm>
                <a:off x="9683750" y="4765676"/>
                <a:ext cx="395288" cy="396875"/>
              </a:xfrm>
              <a:custGeom>
                <a:avLst/>
                <a:gdLst>
                  <a:gd name="T0" fmla="*/ 125 w 249"/>
                  <a:gd name="T1" fmla="*/ 31 h 250"/>
                  <a:gd name="T2" fmla="*/ 95 w 249"/>
                  <a:gd name="T3" fmla="*/ 35 h 250"/>
                  <a:gd name="T4" fmla="*/ 70 w 249"/>
                  <a:gd name="T5" fmla="*/ 49 h 250"/>
                  <a:gd name="T6" fmla="*/ 51 w 249"/>
                  <a:gd name="T7" fmla="*/ 68 h 250"/>
                  <a:gd name="T8" fmla="*/ 39 w 249"/>
                  <a:gd name="T9" fmla="*/ 96 h 250"/>
                  <a:gd name="T10" fmla="*/ 35 w 249"/>
                  <a:gd name="T11" fmla="*/ 124 h 250"/>
                  <a:gd name="T12" fmla="*/ 39 w 249"/>
                  <a:gd name="T13" fmla="*/ 154 h 250"/>
                  <a:gd name="T14" fmla="*/ 51 w 249"/>
                  <a:gd name="T15" fmla="*/ 182 h 250"/>
                  <a:gd name="T16" fmla="*/ 70 w 249"/>
                  <a:gd name="T17" fmla="*/ 201 h 250"/>
                  <a:gd name="T18" fmla="*/ 95 w 249"/>
                  <a:gd name="T19" fmla="*/ 215 h 250"/>
                  <a:gd name="T20" fmla="*/ 125 w 249"/>
                  <a:gd name="T21" fmla="*/ 220 h 250"/>
                  <a:gd name="T22" fmla="*/ 156 w 249"/>
                  <a:gd name="T23" fmla="*/ 215 h 250"/>
                  <a:gd name="T24" fmla="*/ 179 w 249"/>
                  <a:gd name="T25" fmla="*/ 201 h 250"/>
                  <a:gd name="T26" fmla="*/ 198 w 249"/>
                  <a:gd name="T27" fmla="*/ 182 h 250"/>
                  <a:gd name="T28" fmla="*/ 212 w 249"/>
                  <a:gd name="T29" fmla="*/ 154 h 250"/>
                  <a:gd name="T30" fmla="*/ 214 w 249"/>
                  <a:gd name="T31" fmla="*/ 124 h 250"/>
                  <a:gd name="T32" fmla="*/ 212 w 249"/>
                  <a:gd name="T33" fmla="*/ 96 h 250"/>
                  <a:gd name="T34" fmla="*/ 198 w 249"/>
                  <a:gd name="T35" fmla="*/ 68 h 250"/>
                  <a:gd name="T36" fmla="*/ 179 w 249"/>
                  <a:gd name="T37" fmla="*/ 49 h 250"/>
                  <a:gd name="T38" fmla="*/ 156 w 249"/>
                  <a:gd name="T39" fmla="*/ 35 h 250"/>
                  <a:gd name="T40" fmla="*/ 125 w 249"/>
                  <a:gd name="T41" fmla="*/ 31 h 250"/>
                  <a:gd name="T42" fmla="*/ 125 w 249"/>
                  <a:gd name="T43" fmla="*/ 0 h 250"/>
                  <a:gd name="T44" fmla="*/ 165 w 249"/>
                  <a:gd name="T45" fmla="*/ 5 h 250"/>
                  <a:gd name="T46" fmla="*/ 200 w 249"/>
                  <a:gd name="T47" fmla="*/ 24 h 250"/>
                  <a:gd name="T48" fmla="*/ 226 w 249"/>
                  <a:gd name="T49" fmla="*/ 49 h 250"/>
                  <a:gd name="T50" fmla="*/ 244 w 249"/>
                  <a:gd name="T51" fmla="*/ 84 h 250"/>
                  <a:gd name="T52" fmla="*/ 249 w 249"/>
                  <a:gd name="T53" fmla="*/ 124 h 250"/>
                  <a:gd name="T54" fmla="*/ 244 w 249"/>
                  <a:gd name="T55" fmla="*/ 166 h 250"/>
                  <a:gd name="T56" fmla="*/ 226 w 249"/>
                  <a:gd name="T57" fmla="*/ 201 h 250"/>
                  <a:gd name="T58" fmla="*/ 200 w 249"/>
                  <a:gd name="T59" fmla="*/ 227 h 250"/>
                  <a:gd name="T60" fmla="*/ 165 w 249"/>
                  <a:gd name="T61" fmla="*/ 245 h 250"/>
                  <a:gd name="T62" fmla="*/ 125 w 249"/>
                  <a:gd name="T63" fmla="*/ 250 h 250"/>
                  <a:gd name="T64" fmla="*/ 84 w 249"/>
                  <a:gd name="T65" fmla="*/ 245 h 250"/>
                  <a:gd name="T66" fmla="*/ 49 w 249"/>
                  <a:gd name="T67" fmla="*/ 227 h 250"/>
                  <a:gd name="T68" fmla="*/ 23 w 249"/>
                  <a:gd name="T69" fmla="*/ 201 h 250"/>
                  <a:gd name="T70" fmla="*/ 7 w 249"/>
                  <a:gd name="T71" fmla="*/ 166 h 250"/>
                  <a:gd name="T72" fmla="*/ 0 w 249"/>
                  <a:gd name="T73" fmla="*/ 124 h 250"/>
                  <a:gd name="T74" fmla="*/ 7 w 249"/>
                  <a:gd name="T75" fmla="*/ 84 h 250"/>
                  <a:gd name="T76" fmla="*/ 23 w 249"/>
                  <a:gd name="T77" fmla="*/ 49 h 250"/>
                  <a:gd name="T78" fmla="*/ 49 w 249"/>
                  <a:gd name="T79" fmla="*/ 24 h 250"/>
                  <a:gd name="T80" fmla="*/ 84 w 249"/>
                  <a:gd name="T81" fmla="*/ 5 h 250"/>
                  <a:gd name="T82" fmla="*/ 125 w 249"/>
                  <a:gd name="T83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0">
                    <a:moveTo>
                      <a:pt x="125" y="31"/>
                    </a:moveTo>
                    <a:lnTo>
                      <a:pt x="95" y="35"/>
                    </a:lnTo>
                    <a:lnTo>
                      <a:pt x="70" y="49"/>
                    </a:lnTo>
                    <a:lnTo>
                      <a:pt x="51" y="68"/>
                    </a:lnTo>
                    <a:lnTo>
                      <a:pt x="39" y="96"/>
                    </a:lnTo>
                    <a:lnTo>
                      <a:pt x="35" y="124"/>
                    </a:lnTo>
                    <a:lnTo>
                      <a:pt x="39" y="154"/>
                    </a:lnTo>
                    <a:lnTo>
                      <a:pt x="51" y="182"/>
                    </a:lnTo>
                    <a:lnTo>
                      <a:pt x="70" y="201"/>
                    </a:lnTo>
                    <a:lnTo>
                      <a:pt x="95" y="215"/>
                    </a:lnTo>
                    <a:lnTo>
                      <a:pt x="125" y="220"/>
                    </a:lnTo>
                    <a:lnTo>
                      <a:pt x="156" y="215"/>
                    </a:lnTo>
                    <a:lnTo>
                      <a:pt x="179" y="201"/>
                    </a:lnTo>
                    <a:lnTo>
                      <a:pt x="198" y="182"/>
                    </a:lnTo>
                    <a:lnTo>
                      <a:pt x="212" y="154"/>
                    </a:lnTo>
                    <a:lnTo>
                      <a:pt x="214" y="124"/>
                    </a:lnTo>
                    <a:lnTo>
                      <a:pt x="212" y="96"/>
                    </a:lnTo>
                    <a:lnTo>
                      <a:pt x="198" y="68"/>
                    </a:lnTo>
                    <a:lnTo>
                      <a:pt x="179" y="49"/>
                    </a:lnTo>
                    <a:lnTo>
                      <a:pt x="156" y="35"/>
                    </a:lnTo>
                    <a:lnTo>
                      <a:pt x="125" y="31"/>
                    </a:lnTo>
                    <a:close/>
                    <a:moveTo>
                      <a:pt x="125" y="0"/>
                    </a:moveTo>
                    <a:lnTo>
                      <a:pt x="165" y="5"/>
                    </a:lnTo>
                    <a:lnTo>
                      <a:pt x="200" y="24"/>
                    </a:lnTo>
                    <a:lnTo>
                      <a:pt x="226" y="49"/>
                    </a:lnTo>
                    <a:lnTo>
                      <a:pt x="244" y="84"/>
                    </a:lnTo>
                    <a:lnTo>
                      <a:pt x="249" y="124"/>
                    </a:lnTo>
                    <a:lnTo>
                      <a:pt x="244" y="166"/>
                    </a:lnTo>
                    <a:lnTo>
                      <a:pt x="226" y="201"/>
                    </a:lnTo>
                    <a:lnTo>
                      <a:pt x="200" y="227"/>
                    </a:lnTo>
                    <a:lnTo>
                      <a:pt x="165" y="245"/>
                    </a:lnTo>
                    <a:lnTo>
                      <a:pt x="125" y="250"/>
                    </a:lnTo>
                    <a:lnTo>
                      <a:pt x="84" y="245"/>
                    </a:lnTo>
                    <a:lnTo>
                      <a:pt x="49" y="227"/>
                    </a:lnTo>
                    <a:lnTo>
                      <a:pt x="23" y="201"/>
                    </a:lnTo>
                    <a:lnTo>
                      <a:pt x="7" y="166"/>
                    </a:lnTo>
                    <a:lnTo>
                      <a:pt x="0" y="124"/>
                    </a:lnTo>
                    <a:lnTo>
                      <a:pt x="7" y="84"/>
                    </a:lnTo>
                    <a:lnTo>
                      <a:pt x="23" y="49"/>
                    </a:lnTo>
                    <a:lnTo>
                      <a:pt x="49" y="24"/>
                    </a:lnTo>
                    <a:lnTo>
                      <a:pt x="84" y="5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9"/>
              <p:cNvSpPr>
                <a:spLocks/>
              </p:cNvSpPr>
              <p:nvPr userDrawn="1"/>
            </p:nvSpPr>
            <p:spPr bwMode="auto">
              <a:xfrm>
                <a:off x="10152063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5 w 207"/>
                  <a:gd name="T5" fmla="*/ 198 h 240"/>
                  <a:gd name="T6" fmla="*/ 175 w 207"/>
                  <a:gd name="T7" fmla="*/ 198 h 240"/>
                  <a:gd name="T8" fmla="*/ 175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6 w 207"/>
                  <a:gd name="T15" fmla="*/ 240 h 240"/>
                  <a:gd name="T16" fmla="*/ 33 w 207"/>
                  <a:gd name="T17" fmla="*/ 42 h 240"/>
                  <a:gd name="T18" fmla="*/ 33 w 207"/>
                  <a:gd name="T19" fmla="*/ 42 h 240"/>
                  <a:gd name="T20" fmla="*/ 33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5" y="198"/>
                    </a:lnTo>
                    <a:lnTo>
                      <a:pt x="175" y="198"/>
                    </a:lnTo>
                    <a:lnTo>
                      <a:pt x="175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6" y="240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30"/>
              <p:cNvSpPr>
                <a:spLocks/>
              </p:cNvSpPr>
              <p:nvPr userDrawn="1"/>
            </p:nvSpPr>
            <p:spPr bwMode="auto">
              <a:xfrm>
                <a:off x="10547350" y="4765676"/>
                <a:ext cx="252413" cy="396875"/>
              </a:xfrm>
              <a:custGeom>
                <a:avLst/>
                <a:gdLst>
                  <a:gd name="T0" fmla="*/ 89 w 159"/>
                  <a:gd name="T1" fmla="*/ 0 h 250"/>
                  <a:gd name="T2" fmla="*/ 114 w 159"/>
                  <a:gd name="T3" fmla="*/ 3 h 250"/>
                  <a:gd name="T4" fmla="*/ 138 w 159"/>
                  <a:gd name="T5" fmla="*/ 10 h 250"/>
                  <a:gd name="T6" fmla="*/ 156 w 159"/>
                  <a:gd name="T7" fmla="*/ 26 h 250"/>
                  <a:gd name="T8" fmla="*/ 131 w 159"/>
                  <a:gd name="T9" fmla="*/ 52 h 250"/>
                  <a:gd name="T10" fmla="*/ 114 w 159"/>
                  <a:gd name="T11" fmla="*/ 35 h 250"/>
                  <a:gd name="T12" fmla="*/ 89 w 159"/>
                  <a:gd name="T13" fmla="*/ 31 h 250"/>
                  <a:gd name="T14" fmla="*/ 66 w 159"/>
                  <a:gd name="T15" fmla="*/ 33 h 250"/>
                  <a:gd name="T16" fmla="*/ 52 w 159"/>
                  <a:gd name="T17" fmla="*/ 42 h 250"/>
                  <a:gd name="T18" fmla="*/ 45 w 159"/>
                  <a:gd name="T19" fmla="*/ 54 h 250"/>
                  <a:gd name="T20" fmla="*/ 42 w 159"/>
                  <a:gd name="T21" fmla="*/ 66 h 250"/>
                  <a:gd name="T22" fmla="*/ 47 w 159"/>
                  <a:gd name="T23" fmla="*/ 84 h 250"/>
                  <a:gd name="T24" fmla="*/ 56 w 159"/>
                  <a:gd name="T25" fmla="*/ 94 h 250"/>
                  <a:gd name="T26" fmla="*/ 73 w 159"/>
                  <a:gd name="T27" fmla="*/ 103 h 250"/>
                  <a:gd name="T28" fmla="*/ 91 w 159"/>
                  <a:gd name="T29" fmla="*/ 110 h 250"/>
                  <a:gd name="T30" fmla="*/ 110 w 159"/>
                  <a:gd name="T31" fmla="*/ 115 h 250"/>
                  <a:gd name="T32" fmla="*/ 128 w 159"/>
                  <a:gd name="T33" fmla="*/ 124 h 250"/>
                  <a:gd name="T34" fmla="*/ 145 w 159"/>
                  <a:gd name="T35" fmla="*/ 136 h 250"/>
                  <a:gd name="T36" fmla="*/ 156 w 159"/>
                  <a:gd name="T37" fmla="*/ 152 h 250"/>
                  <a:gd name="T38" fmla="*/ 159 w 159"/>
                  <a:gd name="T39" fmla="*/ 178 h 250"/>
                  <a:gd name="T40" fmla="*/ 156 w 159"/>
                  <a:gd name="T41" fmla="*/ 203 h 250"/>
                  <a:gd name="T42" fmla="*/ 145 w 159"/>
                  <a:gd name="T43" fmla="*/ 222 h 250"/>
                  <a:gd name="T44" fmla="*/ 126 w 159"/>
                  <a:gd name="T45" fmla="*/ 238 h 250"/>
                  <a:gd name="T46" fmla="*/ 103 w 159"/>
                  <a:gd name="T47" fmla="*/ 248 h 250"/>
                  <a:gd name="T48" fmla="*/ 77 w 159"/>
                  <a:gd name="T49" fmla="*/ 250 h 250"/>
                  <a:gd name="T50" fmla="*/ 47 w 159"/>
                  <a:gd name="T51" fmla="*/ 248 h 250"/>
                  <a:gd name="T52" fmla="*/ 21 w 159"/>
                  <a:gd name="T53" fmla="*/ 236 h 250"/>
                  <a:gd name="T54" fmla="*/ 0 w 159"/>
                  <a:gd name="T55" fmla="*/ 217 h 250"/>
                  <a:gd name="T56" fmla="*/ 26 w 159"/>
                  <a:gd name="T57" fmla="*/ 194 h 250"/>
                  <a:gd name="T58" fmla="*/ 40 w 159"/>
                  <a:gd name="T59" fmla="*/ 210 h 250"/>
                  <a:gd name="T60" fmla="*/ 59 w 159"/>
                  <a:gd name="T61" fmla="*/ 217 h 250"/>
                  <a:gd name="T62" fmla="*/ 77 w 159"/>
                  <a:gd name="T63" fmla="*/ 220 h 250"/>
                  <a:gd name="T64" fmla="*/ 93 w 159"/>
                  <a:gd name="T65" fmla="*/ 217 h 250"/>
                  <a:gd name="T66" fmla="*/ 110 w 159"/>
                  <a:gd name="T67" fmla="*/ 210 h 250"/>
                  <a:gd name="T68" fmla="*/ 121 w 159"/>
                  <a:gd name="T69" fmla="*/ 199 h 250"/>
                  <a:gd name="T70" fmla="*/ 126 w 159"/>
                  <a:gd name="T71" fmla="*/ 180 h 250"/>
                  <a:gd name="T72" fmla="*/ 121 w 159"/>
                  <a:gd name="T73" fmla="*/ 166 h 250"/>
                  <a:gd name="T74" fmla="*/ 110 w 159"/>
                  <a:gd name="T75" fmla="*/ 154 h 250"/>
                  <a:gd name="T76" fmla="*/ 96 w 159"/>
                  <a:gd name="T77" fmla="*/ 147 h 250"/>
                  <a:gd name="T78" fmla="*/ 77 w 159"/>
                  <a:gd name="T79" fmla="*/ 140 h 250"/>
                  <a:gd name="T80" fmla="*/ 56 w 159"/>
                  <a:gd name="T81" fmla="*/ 133 h 250"/>
                  <a:gd name="T82" fmla="*/ 38 w 159"/>
                  <a:gd name="T83" fmla="*/ 126 h 250"/>
                  <a:gd name="T84" fmla="*/ 21 w 159"/>
                  <a:gd name="T85" fmla="*/ 112 h 250"/>
                  <a:gd name="T86" fmla="*/ 12 w 159"/>
                  <a:gd name="T87" fmla="*/ 94 h 250"/>
                  <a:gd name="T88" fmla="*/ 7 w 159"/>
                  <a:gd name="T89" fmla="*/ 66 h 250"/>
                  <a:gd name="T90" fmla="*/ 10 w 159"/>
                  <a:gd name="T91" fmla="*/ 49 h 250"/>
                  <a:gd name="T92" fmla="*/ 19 w 159"/>
                  <a:gd name="T93" fmla="*/ 31 h 250"/>
                  <a:gd name="T94" fmla="*/ 35 w 159"/>
                  <a:gd name="T95" fmla="*/ 14 h 250"/>
                  <a:gd name="T96" fmla="*/ 59 w 159"/>
                  <a:gd name="T97" fmla="*/ 3 h 250"/>
                  <a:gd name="T98" fmla="*/ 89 w 159"/>
                  <a:gd name="T9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9" h="250">
                    <a:moveTo>
                      <a:pt x="89" y="0"/>
                    </a:moveTo>
                    <a:lnTo>
                      <a:pt x="114" y="3"/>
                    </a:lnTo>
                    <a:lnTo>
                      <a:pt x="138" y="10"/>
                    </a:lnTo>
                    <a:lnTo>
                      <a:pt x="156" y="26"/>
                    </a:lnTo>
                    <a:lnTo>
                      <a:pt x="131" y="52"/>
                    </a:lnTo>
                    <a:lnTo>
                      <a:pt x="114" y="35"/>
                    </a:lnTo>
                    <a:lnTo>
                      <a:pt x="89" y="31"/>
                    </a:lnTo>
                    <a:lnTo>
                      <a:pt x="66" y="33"/>
                    </a:lnTo>
                    <a:lnTo>
                      <a:pt x="52" y="42"/>
                    </a:lnTo>
                    <a:lnTo>
                      <a:pt x="45" y="54"/>
                    </a:lnTo>
                    <a:lnTo>
                      <a:pt x="42" y="66"/>
                    </a:lnTo>
                    <a:lnTo>
                      <a:pt x="47" y="84"/>
                    </a:lnTo>
                    <a:lnTo>
                      <a:pt x="56" y="94"/>
                    </a:lnTo>
                    <a:lnTo>
                      <a:pt x="73" y="103"/>
                    </a:lnTo>
                    <a:lnTo>
                      <a:pt x="91" y="110"/>
                    </a:lnTo>
                    <a:lnTo>
                      <a:pt x="110" y="115"/>
                    </a:lnTo>
                    <a:lnTo>
                      <a:pt x="128" y="124"/>
                    </a:lnTo>
                    <a:lnTo>
                      <a:pt x="145" y="136"/>
                    </a:lnTo>
                    <a:lnTo>
                      <a:pt x="156" y="152"/>
                    </a:lnTo>
                    <a:lnTo>
                      <a:pt x="159" y="178"/>
                    </a:lnTo>
                    <a:lnTo>
                      <a:pt x="156" y="203"/>
                    </a:lnTo>
                    <a:lnTo>
                      <a:pt x="145" y="222"/>
                    </a:lnTo>
                    <a:lnTo>
                      <a:pt x="126" y="238"/>
                    </a:lnTo>
                    <a:lnTo>
                      <a:pt x="103" y="248"/>
                    </a:lnTo>
                    <a:lnTo>
                      <a:pt x="77" y="250"/>
                    </a:lnTo>
                    <a:lnTo>
                      <a:pt x="47" y="248"/>
                    </a:lnTo>
                    <a:lnTo>
                      <a:pt x="21" y="236"/>
                    </a:lnTo>
                    <a:lnTo>
                      <a:pt x="0" y="217"/>
                    </a:lnTo>
                    <a:lnTo>
                      <a:pt x="26" y="194"/>
                    </a:lnTo>
                    <a:lnTo>
                      <a:pt x="40" y="210"/>
                    </a:lnTo>
                    <a:lnTo>
                      <a:pt x="59" y="217"/>
                    </a:lnTo>
                    <a:lnTo>
                      <a:pt x="77" y="220"/>
                    </a:lnTo>
                    <a:lnTo>
                      <a:pt x="93" y="217"/>
                    </a:lnTo>
                    <a:lnTo>
                      <a:pt x="110" y="210"/>
                    </a:lnTo>
                    <a:lnTo>
                      <a:pt x="121" y="199"/>
                    </a:lnTo>
                    <a:lnTo>
                      <a:pt x="126" y="180"/>
                    </a:lnTo>
                    <a:lnTo>
                      <a:pt x="121" y="166"/>
                    </a:lnTo>
                    <a:lnTo>
                      <a:pt x="110" y="154"/>
                    </a:lnTo>
                    <a:lnTo>
                      <a:pt x="96" y="147"/>
                    </a:lnTo>
                    <a:lnTo>
                      <a:pt x="77" y="140"/>
                    </a:lnTo>
                    <a:lnTo>
                      <a:pt x="56" y="133"/>
                    </a:lnTo>
                    <a:lnTo>
                      <a:pt x="38" y="126"/>
                    </a:lnTo>
                    <a:lnTo>
                      <a:pt x="21" y="112"/>
                    </a:lnTo>
                    <a:lnTo>
                      <a:pt x="12" y="94"/>
                    </a:lnTo>
                    <a:lnTo>
                      <a:pt x="7" y="66"/>
                    </a:lnTo>
                    <a:lnTo>
                      <a:pt x="10" y="49"/>
                    </a:lnTo>
                    <a:lnTo>
                      <a:pt x="19" y="31"/>
                    </a:lnTo>
                    <a:lnTo>
                      <a:pt x="35" y="14"/>
                    </a:lnTo>
                    <a:lnTo>
                      <a:pt x="59" y="3"/>
                    </a:lnTo>
                    <a:lnTo>
                      <a:pt x="89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31"/>
              <p:cNvSpPr>
                <a:spLocks/>
              </p:cNvSpPr>
              <p:nvPr userDrawn="1"/>
            </p:nvSpPr>
            <p:spPr bwMode="auto">
              <a:xfrm>
                <a:off x="4743450" y="5280026"/>
                <a:ext cx="239713" cy="382588"/>
              </a:xfrm>
              <a:custGeom>
                <a:avLst/>
                <a:gdLst>
                  <a:gd name="T0" fmla="*/ 0 w 151"/>
                  <a:gd name="T1" fmla="*/ 0 h 241"/>
                  <a:gd name="T2" fmla="*/ 151 w 151"/>
                  <a:gd name="T3" fmla="*/ 0 h 241"/>
                  <a:gd name="T4" fmla="*/ 151 w 151"/>
                  <a:gd name="T5" fmla="*/ 31 h 241"/>
                  <a:gd name="T6" fmla="*/ 33 w 151"/>
                  <a:gd name="T7" fmla="*/ 31 h 241"/>
                  <a:gd name="T8" fmla="*/ 33 w 151"/>
                  <a:gd name="T9" fmla="*/ 105 h 241"/>
                  <a:gd name="T10" fmla="*/ 142 w 151"/>
                  <a:gd name="T11" fmla="*/ 105 h 241"/>
                  <a:gd name="T12" fmla="*/ 142 w 151"/>
                  <a:gd name="T13" fmla="*/ 136 h 241"/>
                  <a:gd name="T14" fmla="*/ 33 w 151"/>
                  <a:gd name="T15" fmla="*/ 136 h 241"/>
                  <a:gd name="T16" fmla="*/ 33 w 151"/>
                  <a:gd name="T17" fmla="*/ 241 h 241"/>
                  <a:gd name="T18" fmla="*/ 0 w 151"/>
                  <a:gd name="T19" fmla="*/ 241 h 241"/>
                  <a:gd name="T20" fmla="*/ 0 w 151"/>
                  <a:gd name="T21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1" h="241">
                    <a:moveTo>
                      <a:pt x="0" y="0"/>
                    </a:moveTo>
                    <a:lnTo>
                      <a:pt x="151" y="0"/>
                    </a:lnTo>
                    <a:lnTo>
                      <a:pt x="151" y="31"/>
                    </a:lnTo>
                    <a:lnTo>
                      <a:pt x="33" y="31"/>
                    </a:lnTo>
                    <a:lnTo>
                      <a:pt x="33" y="105"/>
                    </a:lnTo>
                    <a:lnTo>
                      <a:pt x="142" y="105"/>
                    </a:lnTo>
                    <a:lnTo>
                      <a:pt x="142" y="136"/>
                    </a:lnTo>
                    <a:lnTo>
                      <a:pt x="33" y="136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32"/>
              <p:cNvSpPr>
                <a:spLocks noEditPoints="1"/>
              </p:cNvSpPr>
              <p:nvPr userDrawn="1"/>
            </p:nvSpPr>
            <p:spPr bwMode="auto">
              <a:xfrm>
                <a:off x="5021263" y="5268913"/>
                <a:ext cx="395288" cy="400050"/>
              </a:xfrm>
              <a:custGeom>
                <a:avLst/>
                <a:gdLst>
                  <a:gd name="T0" fmla="*/ 125 w 249"/>
                  <a:gd name="T1" fmla="*/ 33 h 252"/>
                  <a:gd name="T2" fmla="*/ 95 w 249"/>
                  <a:gd name="T3" fmla="*/ 38 h 252"/>
                  <a:gd name="T4" fmla="*/ 70 w 249"/>
                  <a:gd name="T5" fmla="*/ 49 h 252"/>
                  <a:gd name="T6" fmla="*/ 51 w 249"/>
                  <a:gd name="T7" fmla="*/ 70 h 252"/>
                  <a:gd name="T8" fmla="*/ 39 w 249"/>
                  <a:gd name="T9" fmla="*/ 98 h 252"/>
                  <a:gd name="T10" fmla="*/ 35 w 249"/>
                  <a:gd name="T11" fmla="*/ 126 h 252"/>
                  <a:gd name="T12" fmla="*/ 39 w 249"/>
                  <a:gd name="T13" fmla="*/ 157 h 252"/>
                  <a:gd name="T14" fmla="*/ 51 w 249"/>
                  <a:gd name="T15" fmla="*/ 182 h 252"/>
                  <a:gd name="T16" fmla="*/ 70 w 249"/>
                  <a:gd name="T17" fmla="*/ 203 h 252"/>
                  <a:gd name="T18" fmla="*/ 95 w 249"/>
                  <a:gd name="T19" fmla="*/ 217 h 252"/>
                  <a:gd name="T20" fmla="*/ 125 w 249"/>
                  <a:gd name="T21" fmla="*/ 222 h 252"/>
                  <a:gd name="T22" fmla="*/ 156 w 249"/>
                  <a:gd name="T23" fmla="*/ 217 h 252"/>
                  <a:gd name="T24" fmla="*/ 179 w 249"/>
                  <a:gd name="T25" fmla="*/ 203 h 252"/>
                  <a:gd name="T26" fmla="*/ 200 w 249"/>
                  <a:gd name="T27" fmla="*/ 182 h 252"/>
                  <a:gd name="T28" fmla="*/ 212 w 249"/>
                  <a:gd name="T29" fmla="*/ 157 h 252"/>
                  <a:gd name="T30" fmla="*/ 214 w 249"/>
                  <a:gd name="T31" fmla="*/ 126 h 252"/>
                  <a:gd name="T32" fmla="*/ 212 w 249"/>
                  <a:gd name="T33" fmla="*/ 98 h 252"/>
                  <a:gd name="T34" fmla="*/ 200 w 249"/>
                  <a:gd name="T35" fmla="*/ 70 h 252"/>
                  <a:gd name="T36" fmla="*/ 179 w 249"/>
                  <a:gd name="T37" fmla="*/ 49 h 252"/>
                  <a:gd name="T38" fmla="*/ 156 w 249"/>
                  <a:gd name="T39" fmla="*/ 38 h 252"/>
                  <a:gd name="T40" fmla="*/ 125 w 249"/>
                  <a:gd name="T41" fmla="*/ 33 h 252"/>
                  <a:gd name="T42" fmla="*/ 125 w 249"/>
                  <a:gd name="T43" fmla="*/ 0 h 252"/>
                  <a:gd name="T44" fmla="*/ 165 w 249"/>
                  <a:gd name="T45" fmla="*/ 7 h 252"/>
                  <a:gd name="T46" fmla="*/ 200 w 249"/>
                  <a:gd name="T47" fmla="*/ 26 h 252"/>
                  <a:gd name="T48" fmla="*/ 226 w 249"/>
                  <a:gd name="T49" fmla="*/ 52 h 252"/>
                  <a:gd name="T50" fmla="*/ 244 w 249"/>
                  <a:gd name="T51" fmla="*/ 87 h 252"/>
                  <a:gd name="T52" fmla="*/ 249 w 249"/>
                  <a:gd name="T53" fmla="*/ 126 h 252"/>
                  <a:gd name="T54" fmla="*/ 244 w 249"/>
                  <a:gd name="T55" fmla="*/ 168 h 252"/>
                  <a:gd name="T56" fmla="*/ 226 w 249"/>
                  <a:gd name="T57" fmla="*/ 203 h 252"/>
                  <a:gd name="T58" fmla="*/ 200 w 249"/>
                  <a:gd name="T59" fmla="*/ 229 h 252"/>
                  <a:gd name="T60" fmla="*/ 165 w 249"/>
                  <a:gd name="T61" fmla="*/ 248 h 252"/>
                  <a:gd name="T62" fmla="*/ 125 w 249"/>
                  <a:gd name="T63" fmla="*/ 252 h 252"/>
                  <a:gd name="T64" fmla="*/ 84 w 249"/>
                  <a:gd name="T65" fmla="*/ 248 h 252"/>
                  <a:gd name="T66" fmla="*/ 49 w 249"/>
                  <a:gd name="T67" fmla="*/ 229 h 252"/>
                  <a:gd name="T68" fmla="*/ 23 w 249"/>
                  <a:gd name="T69" fmla="*/ 203 h 252"/>
                  <a:gd name="T70" fmla="*/ 7 w 249"/>
                  <a:gd name="T71" fmla="*/ 168 h 252"/>
                  <a:gd name="T72" fmla="*/ 0 w 249"/>
                  <a:gd name="T73" fmla="*/ 126 h 252"/>
                  <a:gd name="T74" fmla="*/ 7 w 249"/>
                  <a:gd name="T75" fmla="*/ 87 h 252"/>
                  <a:gd name="T76" fmla="*/ 23 w 249"/>
                  <a:gd name="T77" fmla="*/ 52 h 252"/>
                  <a:gd name="T78" fmla="*/ 49 w 249"/>
                  <a:gd name="T79" fmla="*/ 26 h 252"/>
                  <a:gd name="T80" fmla="*/ 84 w 249"/>
                  <a:gd name="T81" fmla="*/ 7 h 252"/>
                  <a:gd name="T82" fmla="*/ 125 w 249"/>
                  <a:gd name="T83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2">
                    <a:moveTo>
                      <a:pt x="125" y="33"/>
                    </a:moveTo>
                    <a:lnTo>
                      <a:pt x="95" y="38"/>
                    </a:lnTo>
                    <a:lnTo>
                      <a:pt x="70" y="49"/>
                    </a:lnTo>
                    <a:lnTo>
                      <a:pt x="51" y="70"/>
                    </a:lnTo>
                    <a:lnTo>
                      <a:pt x="39" y="98"/>
                    </a:lnTo>
                    <a:lnTo>
                      <a:pt x="35" y="126"/>
                    </a:lnTo>
                    <a:lnTo>
                      <a:pt x="39" y="157"/>
                    </a:lnTo>
                    <a:lnTo>
                      <a:pt x="51" y="182"/>
                    </a:lnTo>
                    <a:lnTo>
                      <a:pt x="70" y="203"/>
                    </a:lnTo>
                    <a:lnTo>
                      <a:pt x="95" y="217"/>
                    </a:lnTo>
                    <a:lnTo>
                      <a:pt x="125" y="222"/>
                    </a:lnTo>
                    <a:lnTo>
                      <a:pt x="156" y="217"/>
                    </a:lnTo>
                    <a:lnTo>
                      <a:pt x="179" y="203"/>
                    </a:lnTo>
                    <a:lnTo>
                      <a:pt x="200" y="182"/>
                    </a:lnTo>
                    <a:lnTo>
                      <a:pt x="212" y="157"/>
                    </a:lnTo>
                    <a:lnTo>
                      <a:pt x="214" y="126"/>
                    </a:lnTo>
                    <a:lnTo>
                      <a:pt x="212" y="98"/>
                    </a:lnTo>
                    <a:lnTo>
                      <a:pt x="200" y="70"/>
                    </a:lnTo>
                    <a:lnTo>
                      <a:pt x="179" y="49"/>
                    </a:lnTo>
                    <a:lnTo>
                      <a:pt x="156" y="38"/>
                    </a:lnTo>
                    <a:lnTo>
                      <a:pt x="125" y="33"/>
                    </a:lnTo>
                    <a:close/>
                    <a:moveTo>
                      <a:pt x="125" y="0"/>
                    </a:moveTo>
                    <a:lnTo>
                      <a:pt x="165" y="7"/>
                    </a:lnTo>
                    <a:lnTo>
                      <a:pt x="200" y="26"/>
                    </a:lnTo>
                    <a:lnTo>
                      <a:pt x="226" y="52"/>
                    </a:lnTo>
                    <a:lnTo>
                      <a:pt x="244" y="87"/>
                    </a:lnTo>
                    <a:lnTo>
                      <a:pt x="249" y="126"/>
                    </a:lnTo>
                    <a:lnTo>
                      <a:pt x="244" y="168"/>
                    </a:lnTo>
                    <a:lnTo>
                      <a:pt x="226" y="203"/>
                    </a:lnTo>
                    <a:lnTo>
                      <a:pt x="200" y="229"/>
                    </a:lnTo>
                    <a:lnTo>
                      <a:pt x="165" y="248"/>
                    </a:lnTo>
                    <a:lnTo>
                      <a:pt x="125" y="252"/>
                    </a:lnTo>
                    <a:lnTo>
                      <a:pt x="84" y="248"/>
                    </a:lnTo>
                    <a:lnTo>
                      <a:pt x="49" y="229"/>
                    </a:lnTo>
                    <a:lnTo>
                      <a:pt x="23" y="203"/>
                    </a:lnTo>
                    <a:lnTo>
                      <a:pt x="7" y="168"/>
                    </a:lnTo>
                    <a:lnTo>
                      <a:pt x="0" y="126"/>
                    </a:lnTo>
                    <a:lnTo>
                      <a:pt x="7" y="87"/>
                    </a:lnTo>
                    <a:lnTo>
                      <a:pt x="23" y="52"/>
                    </a:lnTo>
                    <a:lnTo>
                      <a:pt x="49" y="26"/>
                    </a:lnTo>
                    <a:lnTo>
                      <a:pt x="84" y="7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33"/>
              <p:cNvSpPr>
                <a:spLocks noEditPoints="1"/>
              </p:cNvSpPr>
              <p:nvPr userDrawn="1"/>
            </p:nvSpPr>
            <p:spPr bwMode="auto">
              <a:xfrm>
                <a:off x="5483225" y="5280026"/>
                <a:ext cx="269875" cy="382588"/>
              </a:xfrm>
              <a:custGeom>
                <a:avLst/>
                <a:gdLst>
                  <a:gd name="T0" fmla="*/ 32 w 170"/>
                  <a:gd name="T1" fmla="*/ 28 h 241"/>
                  <a:gd name="T2" fmla="*/ 32 w 170"/>
                  <a:gd name="T3" fmla="*/ 105 h 241"/>
                  <a:gd name="T4" fmla="*/ 74 w 170"/>
                  <a:gd name="T5" fmla="*/ 105 h 241"/>
                  <a:gd name="T6" fmla="*/ 90 w 170"/>
                  <a:gd name="T7" fmla="*/ 105 h 241"/>
                  <a:gd name="T8" fmla="*/ 104 w 170"/>
                  <a:gd name="T9" fmla="*/ 101 h 241"/>
                  <a:gd name="T10" fmla="*/ 116 w 170"/>
                  <a:gd name="T11" fmla="*/ 96 h 241"/>
                  <a:gd name="T12" fmla="*/ 123 w 170"/>
                  <a:gd name="T13" fmla="*/ 84 h 241"/>
                  <a:gd name="T14" fmla="*/ 125 w 170"/>
                  <a:gd name="T15" fmla="*/ 68 h 241"/>
                  <a:gd name="T16" fmla="*/ 123 w 170"/>
                  <a:gd name="T17" fmla="*/ 52 h 241"/>
                  <a:gd name="T18" fmla="*/ 116 w 170"/>
                  <a:gd name="T19" fmla="*/ 40 h 241"/>
                  <a:gd name="T20" fmla="*/ 104 w 170"/>
                  <a:gd name="T21" fmla="*/ 33 h 241"/>
                  <a:gd name="T22" fmla="*/ 90 w 170"/>
                  <a:gd name="T23" fmla="*/ 31 h 241"/>
                  <a:gd name="T24" fmla="*/ 74 w 170"/>
                  <a:gd name="T25" fmla="*/ 28 h 241"/>
                  <a:gd name="T26" fmla="*/ 32 w 170"/>
                  <a:gd name="T27" fmla="*/ 28 h 241"/>
                  <a:gd name="T28" fmla="*/ 0 w 170"/>
                  <a:gd name="T29" fmla="*/ 0 h 241"/>
                  <a:gd name="T30" fmla="*/ 83 w 170"/>
                  <a:gd name="T31" fmla="*/ 0 h 241"/>
                  <a:gd name="T32" fmla="*/ 111 w 170"/>
                  <a:gd name="T33" fmla="*/ 3 h 241"/>
                  <a:gd name="T34" fmla="*/ 130 w 170"/>
                  <a:gd name="T35" fmla="*/ 12 h 241"/>
                  <a:gd name="T36" fmla="*/ 144 w 170"/>
                  <a:gd name="T37" fmla="*/ 24 h 241"/>
                  <a:gd name="T38" fmla="*/ 153 w 170"/>
                  <a:gd name="T39" fmla="*/ 38 h 241"/>
                  <a:gd name="T40" fmla="*/ 158 w 170"/>
                  <a:gd name="T41" fmla="*/ 52 h 241"/>
                  <a:gd name="T42" fmla="*/ 160 w 170"/>
                  <a:gd name="T43" fmla="*/ 68 h 241"/>
                  <a:gd name="T44" fmla="*/ 156 w 170"/>
                  <a:gd name="T45" fmla="*/ 89 h 241"/>
                  <a:gd name="T46" fmla="*/ 144 w 170"/>
                  <a:gd name="T47" fmla="*/ 110 h 241"/>
                  <a:gd name="T48" fmla="*/ 125 w 170"/>
                  <a:gd name="T49" fmla="*/ 124 h 241"/>
                  <a:gd name="T50" fmla="*/ 102 w 170"/>
                  <a:gd name="T51" fmla="*/ 131 h 241"/>
                  <a:gd name="T52" fmla="*/ 170 w 170"/>
                  <a:gd name="T53" fmla="*/ 241 h 241"/>
                  <a:gd name="T54" fmla="*/ 130 w 170"/>
                  <a:gd name="T55" fmla="*/ 241 h 241"/>
                  <a:gd name="T56" fmla="*/ 69 w 170"/>
                  <a:gd name="T57" fmla="*/ 133 h 241"/>
                  <a:gd name="T58" fmla="*/ 32 w 170"/>
                  <a:gd name="T59" fmla="*/ 133 h 241"/>
                  <a:gd name="T60" fmla="*/ 32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90" y="105"/>
                    </a:lnTo>
                    <a:lnTo>
                      <a:pt x="104" y="101"/>
                    </a:lnTo>
                    <a:lnTo>
                      <a:pt x="116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2"/>
                    </a:lnTo>
                    <a:lnTo>
                      <a:pt x="116" y="40"/>
                    </a:lnTo>
                    <a:lnTo>
                      <a:pt x="104" y="33"/>
                    </a:lnTo>
                    <a:lnTo>
                      <a:pt x="90" y="31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11" y="3"/>
                    </a:lnTo>
                    <a:lnTo>
                      <a:pt x="130" y="12"/>
                    </a:lnTo>
                    <a:lnTo>
                      <a:pt x="144" y="24"/>
                    </a:lnTo>
                    <a:lnTo>
                      <a:pt x="153" y="38"/>
                    </a:lnTo>
                    <a:lnTo>
                      <a:pt x="158" y="52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2" y="131"/>
                    </a:lnTo>
                    <a:lnTo>
                      <a:pt x="170" y="241"/>
                    </a:lnTo>
                    <a:lnTo>
                      <a:pt x="130" y="241"/>
                    </a:lnTo>
                    <a:lnTo>
                      <a:pt x="69" y="133"/>
                    </a:lnTo>
                    <a:lnTo>
                      <a:pt x="32" y="133"/>
                    </a:lnTo>
                    <a:lnTo>
                      <a:pt x="3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4"/>
              <p:cNvSpPr>
                <a:spLocks noEditPoints="1"/>
              </p:cNvSpPr>
              <p:nvPr userDrawn="1"/>
            </p:nvSpPr>
            <p:spPr bwMode="auto">
              <a:xfrm>
                <a:off x="5895975" y="5280026"/>
                <a:ext cx="373063" cy="382588"/>
              </a:xfrm>
              <a:custGeom>
                <a:avLst/>
                <a:gdLst>
                  <a:gd name="T0" fmla="*/ 117 w 235"/>
                  <a:gd name="T1" fmla="*/ 42 h 241"/>
                  <a:gd name="T2" fmla="*/ 72 w 235"/>
                  <a:gd name="T3" fmla="*/ 152 h 241"/>
                  <a:gd name="T4" fmla="*/ 163 w 235"/>
                  <a:gd name="T5" fmla="*/ 152 h 241"/>
                  <a:gd name="T6" fmla="*/ 119 w 235"/>
                  <a:gd name="T7" fmla="*/ 42 h 241"/>
                  <a:gd name="T8" fmla="*/ 117 w 235"/>
                  <a:gd name="T9" fmla="*/ 42 h 241"/>
                  <a:gd name="T10" fmla="*/ 105 w 235"/>
                  <a:gd name="T11" fmla="*/ 0 h 241"/>
                  <a:gd name="T12" fmla="*/ 135 w 235"/>
                  <a:gd name="T13" fmla="*/ 0 h 241"/>
                  <a:gd name="T14" fmla="*/ 235 w 235"/>
                  <a:gd name="T15" fmla="*/ 241 h 241"/>
                  <a:gd name="T16" fmla="*/ 198 w 235"/>
                  <a:gd name="T17" fmla="*/ 241 h 241"/>
                  <a:gd name="T18" fmla="*/ 175 w 235"/>
                  <a:gd name="T19" fmla="*/ 180 h 241"/>
                  <a:gd name="T20" fmla="*/ 61 w 235"/>
                  <a:gd name="T21" fmla="*/ 180 h 241"/>
                  <a:gd name="T22" fmla="*/ 38 w 235"/>
                  <a:gd name="T23" fmla="*/ 241 h 241"/>
                  <a:gd name="T24" fmla="*/ 0 w 235"/>
                  <a:gd name="T25" fmla="*/ 241 h 241"/>
                  <a:gd name="T26" fmla="*/ 105 w 235"/>
                  <a:gd name="T2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5" h="241">
                    <a:moveTo>
                      <a:pt x="117" y="42"/>
                    </a:moveTo>
                    <a:lnTo>
                      <a:pt x="72" y="152"/>
                    </a:lnTo>
                    <a:lnTo>
                      <a:pt x="163" y="152"/>
                    </a:lnTo>
                    <a:lnTo>
                      <a:pt x="119" y="42"/>
                    </a:lnTo>
                    <a:lnTo>
                      <a:pt x="117" y="42"/>
                    </a:lnTo>
                    <a:close/>
                    <a:moveTo>
                      <a:pt x="105" y="0"/>
                    </a:moveTo>
                    <a:lnTo>
                      <a:pt x="135" y="0"/>
                    </a:lnTo>
                    <a:lnTo>
                      <a:pt x="235" y="241"/>
                    </a:lnTo>
                    <a:lnTo>
                      <a:pt x="198" y="241"/>
                    </a:lnTo>
                    <a:lnTo>
                      <a:pt x="175" y="180"/>
                    </a:lnTo>
                    <a:lnTo>
                      <a:pt x="61" y="180"/>
                    </a:lnTo>
                    <a:lnTo>
                      <a:pt x="38" y="241"/>
                    </a:lnTo>
                    <a:lnTo>
                      <a:pt x="0" y="24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35"/>
              <p:cNvSpPr>
                <a:spLocks/>
              </p:cNvSpPr>
              <p:nvPr userDrawn="1"/>
            </p:nvSpPr>
            <p:spPr bwMode="auto">
              <a:xfrm>
                <a:off x="6421438" y="5268913"/>
                <a:ext cx="254000" cy="400050"/>
              </a:xfrm>
              <a:custGeom>
                <a:avLst/>
                <a:gdLst>
                  <a:gd name="T0" fmla="*/ 88 w 160"/>
                  <a:gd name="T1" fmla="*/ 0 h 252"/>
                  <a:gd name="T2" fmla="*/ 114 w 160"/>
                  <a:gd name="T3" fmla="*/ 3 h 252"/>
                  <a:gd name="T4" fmla="*/ 137 w 160"/>
                  <a:gd name="T5" fmla="*/ 12 h 252"/>
                  <a:gd name="T6" fmla="*/ 158 w 160"/>
                  <a:gd name="T7" fmla="*/ 28 h 252"/>
                  <a:gd name="T8" fmla="*/ 130 w 160"/>
                  <a:gd name="T9" fmla="*/ 54 h 252"/>
                  <a:gd name="T10" fmla="*/ 114 w 160"/>
                  <a:gd name="T11" fmla="*/ 38 h 252"/>
                  <a:gd name="T12" fmla="*/ 88 w 160"/>
                  <a:gd name="T13" fmla="*/ 33 h 252"/>
                  <a:gd name="T14" fmla="*/ 65 w 160"/>
                  <a:gd name="T15" fmla="*/ 35 h 252"/>
                  <a:gd name="T16" fmla="*/ 51 w 160"/>
                  <a:gd name="T17" fmla="*/ 45 h 252"/>
                  <a:gd name="T18" fmla="*/ 44 w 160"/>
                  <a:gd name="T19" fmla="*/ 56 h 252"/>
                  <a:gd name="T20" fmla="*/ 42 w 160"/>
                  <a:gd name="T21" fmla="*/ 68 h 252"/>
                  <a:gd name="T22" fmla="*/ 46 w 160"/>
                  <a:gd name="T23" fmla="*/ 84 h 252"/>
                  <a:gd name="T24" fmla="*/ 56 w 160"/>
                  <a:gd name="T25" fmla="*/ 96 h 252"/>
                  <a:gd name="T26" fmla="*/ 72 w 160"/>
                  <a:gd name="T27" fmla="*/ 105 h 252"/>
                  <a:gd name="T28" fmla="*/ 91 w 160"/>
                  <a:gd name="T29" fmla="*/ 110 h 252"/>
                  <a:gd name="T30" fmla="*/ 112 w 160"/>
                  <a:gd name="T31" fmla="*/ 117 h 252"/>
                  <a:gd name="T32" fmla="*/ 130 w 160"/>
                  <a:gd name="T33" fmla="*/ 126 h 252"/>
                  <a:gd name="T34" fmla="*/ 144 w 160"/>
                  <a:gd name="T35" fmla="*/ 138 h 252"/>
                  <a:gd name="T36" fmla="*/ 156 w 160"/>
                  <a:gd name="T37" fmla="*/ 154 h 252"/>
                  <a:gd name="T38" fmla="*/ 160 w 160"/>
                  <a:gd name="T39" fmla="*/ 180 h 252"/>
                  <a:gd name="T40" fmla="*/ 156 w 160"/>
                  <a:gd name="T41" fmla="*/ 203 h 252"/>
                  <a:gd name="T42" fmla="*/ 144 w 160"/>
                  <a:gd name="T43" fmla="*/ 224 h 252"/>
                  <a:gd name="T44" fmla="*/ 125 w 160"/>
                  <a:gd name="T45" fmla="*/ 241 h 252"/>
                  <a:gd name="T46" fmla="*/ 102 w 160"/>
                  <a:gd name="T47" fmla="*/ 250 h 252"/>
                  <a:gd name="T48" fmla="*/ 77 w 160"/>
                  <a:gd name="T49" fmla="*/ 252 h 252"/>
                  <a:gd name="T50" fmla="*/ 46 w 160"/>
                  <a:gd name="T51" fmla="*/ 250 h 252"/>
                  <a:gd name="T52" fmla="*/ 21 w 160"/>
                  <a:gd name="T53" fmla="*/ 238 h 252"/>
                  <a:gd name="T54" fmla="*/ 0 w 160"/>
                  <a:gd name="T55" fmla="*/ 220 h 252"/>
                  <a:gd name="T56" fmla="*/ 28 w 160"/>
                  <a:gd name="T57" fmla="*/ 196 h 252"/>
                  <a:gd name="T58" fmla="*/ 42 w 160"/>
                  <a:gd name="T59" fmla="*/ 210 h 252"/>
                  <a:gd name="T60" fmla="*/ 58 w 160"/>
                  <a:gd name="T61" fmla="*/ 220 h 252"/>
                  <a:gd name="T62" fmla="*/ 77 w 160"/>
                  <a:gd name="T63" fmla="*/ 222 h 252"/>
                  <a:gd name="T64" fmla="*/ 93 w 160"/>
                  <a:gd name="T65" fmla="*/ 220 h 252"/>
                  <a:gd name="T66" fmla="*/ 109 w 160"/>
                  <a:gd name="T67" fmla="*/ 213 h 252"/>
                  <a:gd name="T68" fmla="*/ 121 w 160"/>
                  <a:gd name="T69" fmla="*/ 201 h 252"/>
                  <a:gd name="T70" fmla="*/ 125 w 160"/>
                  <a:gd name="T71" fmla="*/ 182 h 252"/>
                  <a:gd name="T72" fmla="*/ 121 w 160"/>
                  <a:gd name="T73" fmla="*/ 168 h 252"/>
                  <a:gd name="T74" fmla="*/ 109 w 160"/>
                  <a:gd name="T75" fmla="*/ 157 h 252"/>
                  <a:gd name="T76" fmla="*/ 95 w 160"/>
                  <a:gd name="T77" fmla="*/ 150 h 252"/>
                  <a:gd name="T78" fmla="*/ 77 w 160"/>
                  <a:gd name="T79" fmla="*/ 143 h 252"/>
                  <a:gd name="T80" fmla="*/ 56 w 160"/>
                  <a:gd name="T81" fmla="*/ 136 h 252"/>
                  <a:gd name="T82" fmla="*/ 37 w 160"/>
                  <a:gd name="T83" fmla="*/ 126 h 252"/>
                  <a:gd name="T84" fmla="*/ 23 w 160"/>
                  <a:gd name="T85" fmla="*/ 115 h 252"/>
                  <a:gd name="T86" fmla="*/ 11 w 160"/>
                  <a:gd name="T87" fmla="*/ 96 h 252"/>
                  <a:gd name="T88" fmla="*/ 7 w 160"/>
                  <a:gd name="T89" fmla="*/ 68 h 252"/>
                  <a:gd name="T90" fmla="*/ 11 w 160"/>
                  <a:gd name="T91" fmla="*/ 52 h 252"/>
                  <a:gd name="T92" fmla="*/ 18 w 160"/>
                  <a:gd name="T93" fmla="*/ 33 h 252"/>
                  <a:gd name="T94" fmla="*/ 35 w 160"/>
                  <a:gd name="T95" fmla="*/ 17 h 252"/>
                  <a:gd name="T96" fmla="*/ 58 w 160"/>
                  <a:gd name="T97" fmla="*/ 5 h 252"/>
                  <a:gd name="T98" fmla="*/ 88 w 160"/>
                  <a:gd name="T99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" h="252">
                    <a:moveTo>
                      <a:pt x="88" y="0"/>
                    </a:moveTo>
                    <a:lnTo>
                      <a:pt x="114" y="3"/>
                    </a:lnTo>
                    <a:lnTo>
                      <a:pt x="137" y="12"/>
                    </a:lnTo>
                    <a:lnTo>
                      <a:pt x="158" y="28"/>
                    </a:lnTo>
                    <a:lnTo>
                      <a:pt x="130" y="54"/>
                    </a:lnTo>
                    <a:lnTo>
                      <a:pt x="114" y="38"/>
                    </a:lnTo>
                    <a:lnTo>
                      <a:pt x="88" y="33"/>
                    </a:lnTo>
                    <a:lnTo>
                      <a:pt x="65" y="35"/>
                    </a:lnTo>
                    <a:lnTo>
                      <a:pt x="51" y="45"/>
                    </a:lnTo>
                    <a:lnTo>
                      <a:pt x="44" y="56"/>
                    </a:lnTo>
                    <a:lnTo>
                      <a:pt x="42" y="68"/>
                    </a:lnTo>
                    <a:lnTo>
                      <a:pt x="46" y="84"/>
                    </a:lnTo>
                    <a:lnTo>
                      <a:pt x="56" y="96"/>
                    </a:lnTo>
                    <a:lnTo>
                      <a:pt x="72" y="105"/>
                    </a:lnTo>
                    <a:lnTo>
                      <a:pt x="91" y="110"/>
                    </a:lnTo>
                    <a:lnTo>
                      <a:pt x="112" y="117"/>
                    </a:lnTo>
                    <a:lnTo>
                      <a:pt x="130" y="126"/>
                    </a:lnTo>
                    <a:lnTo>
                      <a:pt x="144" y="138"/>
                    </a:lnTo>
                    <a:lnTo>
                      <a:pt x="156" y="154"/>
                    </a:lnTo>
                    <a:lnTo>
                      <a:pt x="160" y="180"/>
                    </a:lnTo>
                    <a:lnTo>
                      <a:pt x="156" y="203"/>
                    </a:lnTo>
                    <a:lnTo>
                      <a:pt x="144" y="224"/>
                    </a:lnTo>
                    <a:lnTo>
                      <a:pt x="125" y="241"/>
                    </a:lnTo>
                    <a:lnTo>
                      <a:pt x="102" y="250"/>
                    </a:lnTo>
                    <a:lnTo>
                      <a:pt x="77" y="252"/>
                    </a:lnTo>
                    <a:lnTo>
                      <a:pt x="46" y="250"/>
                    </a:lnTo>
                    <a:lnTo>
                      <a:pt x="21" y="238"/>
                    </a:lnTo>
                    <a:lnTo>
                      <a:pt x="0" y="220"/>
                    </a:lnTo>
                    <a:lnTo>
                      <a:pt x="28" y="196"/>
                    </a:lnTo>
                    <a:lnTo>
                      <a:pt x="42" y="210"/>
                    </a:lnTo>
                    <a:lnTo>
                      <a:pt x="58" y="220"/>
                    </a:lnTo>
                    <a:lnTo>
                      <a:pt x="77" y="222"/>
                    </a:lnTo>
                    <a:lnTo>
                      <a:pt x="93" y="220"/>
                    </a:lnTo>
                    <a:lnTo>
                      <a:pt x="109" y="213"/>
                    </a:lnTo>
                    <a:lnTo>
                      <a:pt x="121" y="201"/>
                    </a:lnTo>
                    <a:lnTo>
                      <a:pt x="125" y="182"/>
                    </a:lnTo>
                    <a:lnTo>
                      <a:pt x="121" y="168"/>
                    </a:lnTo>
                    <a:lnTo>
                      <a:pt x="109" y="157"/>
                    </a:lnTo>
                    <a:lnTo>
                      <a:pt x="95" y="150"/>
                    </a:lnTo>
                    <a:lnTo>
                      <a:pt x="77" y="143"/>
                    </a:lnTo>
                    <a:lnTo>
                      <a:pt x="56" y="136"/>
                    </a:lnTo>
                    <a:lnTo>
                      <a:pt x="37" y="126"/>
                    </a:lnTo>
                    <a:lnTo>
                      <a:pt x="23" y="115"/>
                    </a:lnTo>
                    <a:lnTo>
                      <a:pt x="11" y="96"/>
                    </a:lnTo>
                    <a:lnTo>
                      <a:pt x="7" y="68"/>
                    </a:lnTo>
                    <a:lnTo>
                      <a:pt x="11" y="52"/>
                    </a:lnTo>
                    <a:lnTo>
                      <a:pt x="18" y="33"/>
                    </a:lnTo>
                    <a:lnTo>
                      <a:pt x="35" y="17"/>
                    </a:lnTo>
                    <a:lnTo>
                      <a:pt x="58" y="5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36"/>
              <p:cNvSpPr>
                <a:spLocks/>
              </p:cNvSpPr>
              <p:nvPr userDrawn="1"/>
            </p:nvSpPr>
            <p:spPr bwMode="auto">
              <a:xfrm>
                <a:off x="6738938" y="5280026"/>
                <a:ext cx="395288" cy="382588"/>
              </a:xfrm>
              <a:custGeom>
                <a:avLst/>
                <a:gdLst>
                  <a:gd name="T0" fmla="*/ 0 w 249"/>
                  <a:gd name="T1" fmla="*/ 0 h 241"/>
                  <a:gd name="T2" fmla="*/ 49 w 249"/>
                  <a:gd name="T3" fmla="*/ 0 h 241"/>
                  <a:gd name="T4" fmla="*/ 123 w 249"/>
                  <a:gd name="T5" fmla="*/ 182 h 241"/>
                  <a:gd name="T6" fmla="*/ 126 w 249"/>
                  <a:gd name="T7" fmla="*/ 182 h 241"/>
                  <a:gd name="T8" fmla="*/ 200 w 249"/>
                  <a:gd name="T9" fmla="*/ 0 h 241"/>
                  <a:gd name="T10" fmla="*/ 249 w 249"/>
                  <a:gd name="T11" fmla="*/ 0 h 241"/>
                  <a:gd name="T12" fmla="*/ 249 w 249"/>
                  <a:gd name="T13" fmla="*/ 241 h 241"/>
                  <a:gd name="T14" fmla="*/ 216 w 249"/>
                  <a:gd name="T15" fmla="*/ 241 h 241"/>
                  <a:gd name="T16" fmla="*/ 216 w 249"/>
                  <a:gd name="T17" fmla="*/ 42 h 241"/>
                  <a:gd name="T18" fmla="*/ 216 w 249"/>
                  <a:gd name="T19" fmla="*/ 42 h 241"/>
                  <a:gd name="T20" fmla="*/ 135 w 249"/>
                  <a:gd name="T21" fmla="*/ 241 h 241"/>
                  <a:gd name="T22" fmla="*/ 114 w 249"/>
                  <a:gd name="T23" fmla="*/ 241 h 241"/>
                  <a:gd name="T24" fmla="*/ 33 w 249"/>
                  <a:gd name="T25" fmla="*/ 42 h 241"/>
                  <a:gd name="T26" fmla="*/ 33 w 249"/>
                  <a:gd name="T27" fmla="*/ 42 h 241"/>
                  <a:gd name="T28" fmla="*/ 33 w 249"/>
                  <a:gd name="T29" fmla="*/ 241 h 241"/>
                  <a:gd name="T30" fmla="*/ 0 w 249"/>
                  <a:gd name="T31" fmla="*/ 241 h 241"/>
                  <a:gd name="T32" fmla="*/ 0 w 249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9" h="241">
                    <a:moveTo>
                      <a:pt x="0" y="0"/>
                    </a:moveTo>
                    <a:lnTo>
                      <a:pt x="49" y="0"/>
                    </a:lnTo>
                    <a:lnTo>
                      <a:pt x="123" y="182"/>
                    </a:lnTo>
                    <a:lnTo>
                      <a:pt x="126" y="182"/>
                    </a:lnTo>
                    <a:lnTo>
                      <a:pt x="200" y="0"/>
                    </a:lnTo>
                    <a:lnTo>
                      <a:pt x="249" y="0"/>
                    </a:lnTo>
                    <a:lnTo>
                      <a:pt x="249" y="241"/>
                    </a:lnTo>
                    <a:lnTo>
                      <a:pt x="216" y="241"/>
                    </a:lnTo>
                    <a:lnTo>
                      <a:pt x="216" y="42"/>
                    </a:lnTo>
                    <a:lnTo>
                      <a:pt x="216" y="42"/>
                    </a:lnTo>
                    <a:lnTo>
                      <a:pt x="135" y="241"/>
                    </a:lnTo>
                    <a:lnTo>
                      <a:pt x="114" y="241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37"/>
              <p:cNvSpPr>
                <a:spLocks noEditPoints="1"/>
              </p:cNvSpPr>
              <p:nvPr userDrawn="1"/>
            </p:nvSpPr>
            <p:spPr bwMode="auto">
              <a:xfrm>
                <a:off x="7170738" y="5280026"/>
                <a:ext cx="377825" cy="382588"/>
              </a:xfrm>
              <a:custGeom>
                <a:avLst/>
                <a:gdLst>
                  <a:gd name="T0" fmla="*/ 119 w 238"/>
                  <a:gd name="T1" fmla="*/ 42 h 241"/>
                  <a:gd name="T2" fmla="*/ 72 w 238"/>
                  <a:gd name="T3" fmla="*/ 152 h 241"/>
                  <a:gd name="T4" fmla="*/ 163 w 238"/>
                  <a:gd name="T5" fmla="*/ 152 h 241"/>
                  <a:gd name="T6" fmla="*/ 119 w 238"/>
                  <a:gd name="T7" fmla="*/ 42 h 241"/>
                  <a:gd name="T8" fmla="*/ 119 w 238"/>
                  <a:gd name="T9" fmla="*/ 42 h 241"/>
                  <a:gd name="T10" fmla="*/ 105 w 238"/>
                  <a:gd name="T11" fmla="*/ 0 h 241"/>
                  <a:gd name="T12" fmla="*/ 135 w 238"/>
                  <a:gd name="T13" fmla="*/ 0 h 241"/>
                  <a:gd name="T14" fmla="*/ 238 w 238"/>
                  <a:gd name="T15" fmla="*/ 241 h 241"/>
                  <a:gd name="T16" fmla="*/ 200 w 238"/>
                  <a:gd name="T17" fmla="*/ 241 h 241"/>
                  <a:gd name="T18" fmla="*/ 175 w 238"/>
                  <a:gd name="T19" fmla="*/ 180 h 241"/>
                  <a:gd name="T20" fmla="*/ 61 w 238"/>
                  <a:gd name="T21" fmla="*/ 180 h 241"/>
                  <a:gd name="T22" fmla="*/ 37 w 238"/>
                  <a:gd name="T23" fmla="*/ 241 h 241"/>
                  <a:gd name="T24" fmla="*/ 0 w 238"/>
                  <a:gd name="T25" fmla="*/ 241 h 241"/>
                  <a:gd name="T26" fmla="*/ 105 w 238"/>
                  <a:gd name="T2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8" h="241">
                    <a:moveTo>
                      <a:pt x="119" y="42"/>
                    </a:moveTo>
                    <a:lnTo>
                      <a:pt x="72" y="152"/>
                    </a:lnTo>
                    <a:lnTo>
                      <a:pt x="163" y="152"/>
                    </a:lnTo>
                    <a:lnTo>
                      <a:pt x="119" y="42"/>
                    </a:lnTo>
                    <a:lnTo>
                      <a:pt x="119" y="42"/>
                    </a:lnTo>
                    <a:close/>
                    <a:moveTo>
                      <a:pt x="105" y="0"/>
                    </a:moveTo>
                    <a:lnTo>
                      <a:pt x="135" y="0"/>
                    </a:lnTo>
                    <a:lnTo>
                      <a:pt x="238" y="241"/>
                    </a:lnTo>
                    <a:lnTo>
                      <a:pt x="200" y="241"/>
                    </a:lnTo>
                    <a:lnTo>
                      <a:pt x="175" y="180"/>
                    </a:lnTo>
                    <a:lnTo>
                      <a:pt x="61" y="180"/>
                    </a:lnTo>
                    <a:lnTo>
                      <a:pt x="37" y="241"/>
                    </a:lnTo>
                    <a:lnTo>
                      <a:pt x="0" y="24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38"/>
              <p:cNvSpPr>
                <a:spLocks noEditPoints="1"/>
              </p:cNvSpPr>
              <p:nvPr userDrawn="1"/>
            </p:nvSpPr>
            <p:spPr bwMode="auto">
              <a:xfrm>
                <a:off x="7588250" y="5280026"/>
                <a:ext cx="269875" cy="382588"/>
              </a:xfrm>
              <a:custGeom>
                <a:avLst/>
                <a:gdLst>
                  <a:gd name="T0" fmla="*/ 33 w 170"/>
                  <a:gd name="T1" fmla="*/ 28 h 241"/>
                  <a:gd name="T2" fmla="*/ 33 w 170"/>
                  <a:gd name="T3" fmla="*/ 105 h 241"/>
                  <a:gd name="T4" fmla="*/ 75 w 170"/>
                  <a:gd name="T5" fmla="*/ 105 h 241"/>
                  <a:gd name="T6" fmla="*/ 91 w 170"/>
                  <a:gd name="T7" fmla="*/ 105 h 241"/>
                  <a:gd name="T8" fmla="*/ 105 w 170"/>
                  <a:gd name="T9" fmla="*/ 101 h 241"/>
                  <a:gd name="T10" fmla="*/ 117 w 170"/>
                  <a:gd name="T11" fmla="*/ 96 h 241"/>
                  <a:gd name="T12" fmla="*/ 124 w 170"/>
                  <a:gd name="T13" fmla="*/ 84 h 241"/>
                  <a:gd name="T14" fmla="*/ 126 w 170"/>
                  <a:gd name="T15" fmla="*/ 68 h 241"/>
                  <a:gd name="T16" fmla="*/ 124 w 170"/>
                  <a:gd name="T17" fmla="*/ 52 h 241"/>
                  <a:gd name="T18" fmla="*/ 117 w 170"/>
                  <a:gd name="T19" fmla="*/ 40 h 241"/>
                  <a:gd name="T20" fmla="*/ 105 w 170"/>
                  <a:gd name="T21" fmla="*/ 33 h 241"/>
                  <a:gd name="T22" fmla="*/ 91 w 170"/>
                  <a:gd name="T23" fmla="*/ 31 h 241"/>
                  <a:gd name="T24" fmla="*/ 75 w 170"/>
                  <a:gd name="T25" fmla="*/ 28 h 241"/>
                  <a:gd name="T26" fmla="*/ 33 w 170"/>
                  <a:gd name="T27" fmla="*/ 28 h 241"/>
                  <a:gd name="T28" fmla="*/ 0 w 170"/>
                  <a:gd name="T29" fmla="*/ 0 h 241"/>
                  <a:gd name="T30" fmla="*/ 84 w 170"/>
                  <a:gd name="T31" fmla="*/ 0 h 241"/>
                  <a:gd name="T32" fmla="*/ 112 w 170"/>
                  <a:gd name="T33" fmla="*/ 3 h 241"/>
                  <a:gd name="T34" fmla="*/ 131 w 170"/>
                  <a:gd name="T35" fmla="*/ 12 h 241"/>
                  <a:gd name="T36" fmla="*/ 145 w 170"/>
                  <a:gd name="T37" fmla="*/ 24 h 241"/>
                  <a:gd name="T38" fmla="*/ 154 w 170"/>
                  <a:gd name="T39" fmla="*/ 38 h 241"/>
                  <a:gd name="T40" fmla="*/ 158 w 170"/>
                  <a:gd name="T41" fmla="*/ 52 h 241"/>
                  <a:gd name="T42" fmla="*/ 161 w 170"/>
                  <a:gd name="T43" fmla="*/ 68 h 241"/>
                  <a:gd name="T44" fmla="*/ 156 w 170"/>
                  <a:gd name="T45" fmla="*/ 89 h 241"/>
                  <a:gd name="T46" fmla="*/ 145 w 170"/>
                  <a:gd name="T47" fmla="*/ 110 h 241"/>
                  <a:gd name="T48" fmla="*/ 126 w 170"/>
                  <a:gd name="T49" fmla="*/ 124 h 241"/>
                  <a:gd name="T50" fmla="*/ 103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8 w 170"/>
                  <a:gd name="T57" fmla="*/ 133 h 241"/>
                  <a:gd name="T58" fmla="*/ 33 w 170"/>
                  <a:gd name="T59" fmla="*/ 133 h 241"/>
                  <a:gd name="T60" fmla="*/ 33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3" y="28"/>
                    </a:moveTo>
                    <a:lnTo>
                      <a:pt x="33" y="105"/>
                    </a:lnTo>
                    <a:lnTo>
                      <a:pt x="75" y="105"/>
                    </a:lnTo>
                    <a:lnTo>
                      <a:pt x="91" y="105"/>
                    </a:lnTo>
                    <a:lnTo>
                      <a:pt x="105" y="101"/>
                    </a:lnTo>
                    <a:lnTo>
                      <a:pt x="117" y="96"/>
                    </a:lnTo>
                    <a:lnTo>
                      <a:pt x="124" y="84"/>
                    </a:lnTo>
                    <a:lnTo>
                      <a:pt x="126" y="68"/>
                    </a:lnTo>
                    <a:lnTo>
                      <a:pt x="124" y="52"/>
                    </a:lnTo>
                    <a:lnTo>
                      <a:pt x="117" y="40"/>
                    </a:lnTo>
                    <a:lnTo>
                      <a:pt x="105" y="33"/>
                    </a:lnTo>
                    <a:lnTo>
                      <a:pt x="91" y="31"/>
                    </a:lnTo>
                    <a:lnTo>
                      <a:pt x="75" y="28"/>
                    </a:lnTo>
                    <a:lnTo>
                      <a:pt x="33" y="28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12" y="3"/>
                    </a:lnTo>
                    <a:lnTo>
                      <a:pt x="131" y="12"/>
                    </a:lnTo>
                    <a:lnTo>
                      <a:pt x="145" y="24"/>
                    </a:lnTo>
                    <a:lnTo>
                      <a:pt x="154" y="38"/>
                    </a:lnTo>
                    <a:lnTo>
                      <a:pt x="158" y="52"/>
                    </a:lnTo>
                    <a:lnTo>
                      <a:pt x="161" y="68"/>
                    </a:lnTo>
                    <a:lnTo>
                      <a:pt x="156" y="89"/>
                    </a:lnTo>
                    <a:lnTo>
                      <a:pt x="145" y="110"/>
                    </a:lnTo>
                    <a:lnTo>
                      <a:pt x="126" y="124"/>
                    </a:lnTo>
                    <a:lnTo>
                      <a:pt x="103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8" y="133"/>
                    </a:lnTo>
                    <a:lnTo>
                      <a:pt x="33" y="133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39"/>
              <p:cNvSpPr>
                <a:spLocks/>
              </p:cNvSpPr>
              <p:nvPr userDrawn="1"/>
            </p:nvSpPr>
            <p:spPr bwMode="auto">
              <a:xfrm>
                <a:off x="7866063" y="5280026"/>
                <a:ext cx="295275" cy="382588"/>
              </a:xfrm>
              <a:custGeom>
                <a:avLst/>
                <a:gdLst>
                  <a:gd name="T0" fmla="*/ 0 w 186"/>
                  <a:gd name="T1" fmla="*/ 0 h 241"/>
                  <a:gd name="T2" fmla="*/ 186 w 186"/>
                  <a:gd name="T3" fmla="*/ 0 h 241"/>
                  <a:gd name="T4" fmla="*/ 186 w 186"/>
                  <a:gd name="T5" fmla="*/ 31 h 241"/>
                  <a:gd name="T6" fmla="*/ 109 w 186"/>
                  <a:gd name="T7" fmla="*/ 31 h 241"/>
                  <a:gd name="T8" fmla="*/ 109 w 186"/>
                  <a:gd name="T9" fmla="*/ 241 h 241"/>
                  <a:gd name="T10" fmla="*/ 77 w 186"/>
                  <a:gd name="T11" fmla="*/ 241 h 241"/>
                  <a:gd name="T12" fmla="*/ 77 w 186"/>
                  <a:gd name="T13" fmla="*/ 31 h 241"/>
                  <a:gd name="T14" fmla="*/ 0 w 186"/>
                  <a:gd name="T15" fmla="*/ 31 h 241"/>
                  <a:gd name="T16" fmla="*/ 0 w 186"/>
                  <a:gd name="T1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241">
                    <a:moveTo>
                      <a:pt x="0" y="0"/>
                    </a:moveTo>
                    <a:lnTo>
                      <a:pt x="186" y="0"/>
                    </a:lnTo>
                    <a:lnTo>
                      <a:pt x="186" y="31"/>
                    </a:lnTo>
                    <a:lnTo>
                      <a:pt x="109" y="31"/>
                    </a:lnTo>
                    <a:lnTo>
                      <a:pt x="109" y="241"/>
                    </a:lnTo>
                    <a:lnTo>
                      <a:pt x="77" y="241"/>
                    </a:lnTo>
                    <a:lnTo>
                      <a:pt x="77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40"/>
              <p:cNvSpPr>
                <a:spLocks/>
              </p:cNvSpPr>
              <p:nvPr userDrawn="1"/>
            </p:nvSpPr>
            <p:spPr bwMode="auto">
              <a:xfrm>
                <a:off x="8205788" y="5280026"/>
                <a:ext cx="254000" cy="382588"/>
              </a:xfrm>
              <a:custGeom>
                <a:avLst/>
                <a:gdLst>
                  <a:gd name="T0" fmla="*/ 0 w 160"/>
                  <a:gd name="T1" fmla="*/ 0 h 241"/>
                  <a:gd name="T2" fmla="*/ 156 w 160"/>
                  <a:gd name="T3" fmla="*/ 0 h 241"/>
                  <a:gd name="T4" fmla="*/ 156 w 160"/>
                  <a:gd name="T5" fmla="*/ 31 h 241"/>
                  <a:gd name="T6" fmla="*/ 32 w 160"/>
                  <a:gd name="T7" fmla="*/ 31 h 241"/>
                  <a:gd name="T8" fmla="*/ 32 w 160"/>
                  <a:gd name="T9" fmla="*/ 103 h 241"/>
                  <a:gd name="T10" fmla="*/ 146 w 160"/>
                  <a:gd name="T11" fmla="*/ 103 h 241"/>
                  <a:gd name="T12" fmla="*/ 146 w 160"/>
                  <a:gd name="T13" fmla="*/ 133 h 241"/>
                  <a:gd name="T14" fmla="*/ 32 w 160"/>
                  <a:gd name="T15" fmla="*/ 133 h 241"/>
                  <a:gd name="T16" fmla="*/ 32 w 160"/>
                  <a:gd name="T17" fmla="*/ 210 h 241"/>
                  <a:gd name="T18" fmla="*/ 160 w 160"/>
                  <a:gd name="T19" fmla="*/ 210 h 241"/>
                  <a:gd name="T20" fmla="*/ 160 w 160"/>
                  <a:gd name="T21" fmla="*/ 241 h 241"/>
                  <a:gd name="T22" fmla="*/ 0 w 160"/>
                  <a:gd name="T23" fmla="*/ 241 h 241"/>
                  <a:gd name="T24" fmla="*/ 0 w 160"/>
                  <a:gd name="T2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0" h="241">
                    <a:moveTo>
                      <a:pt x="0" y="0"/>
                    </a:moveTo>
                    <a:lnTo>
                      <a:pt x="156" y="0"/>
                    </a:lnTo>
                    <a:lnTo>
                      <a:pt x="156" y="31"/>
                    </a:lnTo>
                    <a:lnTo>
                      <a:pt x="32" y="31"/>
                    </a:lnTo>
                    <a:lnTo>
                      <a:pt x="32" y="103"/>
                    </a:lnTo>
                    <a:lnTo>
                      <a:pt x="146" y="103"/>
                    </a:lnTo>
                    <a:lnTo>
                      <a:pt x="146" y="133"/>
                    </a:lnTo>
                    <a:lnTo>
                      <a:pt x="32" y="133"/>
                    </a:lnTo>
                    <a:lnTo>
                      <a:pt x="32" y="210"/>
                    </a:lnTo>
                    <a:lnTo>
                      <a:pt x="160" y="210"/>
                    </a:lnTo>
                    <a:lnTo>
                      <a:pt x="160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41"/>
              <p:cNvSpPr>
                <a:spLocks noEditPoints="1"/>
              </p:cNvSpPr>
              <p:nvPr userDrawn="1"/>
            </p:nvSpPr>
            <p:spPr bwMode="auto">
              <a:xfrm>
                <a:off x="8526463" y="5280026"/>
                <a:ext cx="269875" cy="382588"/>
              </a:xfrm>
              <a:custGeom>
                <a:avLst/>
                <a:gdLst>
                  <a:gd name="T0" fmla="*/ 33 w 170"/>
                  <a:gd name="T1" fmla="*/ 28 h 241"/>
                  <a:gd name="T2" fmla="*/ 33 w 170"/>
                  <a:gd name="T3" fmla="*/ 105 h 241"/>
                  <a:gd name="T4" fmla="*/ 75 w 170"/>
                  <a:gd name="T5" fmla="*/ 105 h 241"/>
                  <a:gd name="T6" fmla="*/ 89 w 170"/>
                  <a:gd name="T7" fmla="*/ 105 h 241"/>
                  <a:gd name="T8" fmla="*/ 103 w 170"/>
                  <a:gd name="T9" fmla="*/ 101 h 241"/>
                  <a:gd name="T10" fmla="*/ 114 w 170"/>
                  <a:gd name="T11" fmla="*/ 96 h 241"/>
                  <a:gd name="T12" fmla="*/ 124 w 170"/>
                  <a:gd name="T13" fmla="*/ 84 h 241"/>
                  <a:gd name="T14" fmla="*/ 126 w 170"/>
                  <a:gd name="T15" fmla="*/ 68 h 241"/>
                  <a:gd name="T16" fmla="*/ 124 w 170"/>
                  <a:gd name="T17" fmla="*/ 52 h 241"/>
                  <a:gd name="T18" fmla="*/ 114 w 170"/>
                  <a:gd name="T19" fmla="*/ 40 h 241"/>
                  <a:gd name="T20" fmla="*/ 103 w 170"/>
                  <a:gd name="T21" fmla="*/ 33 h 241"/>
                  <a:gd name="T22" fmla="*/ 89 w 170"/>
                  <a:gd name="T23" fmla="*/ 31 h 241"/>
                  <a:gd name="T24" fmla="*/ 75 w 170"/>
                  <a:gd name="T25" fmla="*/ 28 h 241"/>
                  <a:gd name="T26" fmla="*/ 33 w 170"/>
                  <a:gd name="T27" fmla="*/ 28 h 241"/>
                  <a:gd name="T28" fmla="*/ 0 w 170"/>
                  <a:gd name="T29" fmla="*/ 0 h 241"/>
                  <a:gd name="T30" fmla="*/ 84 w 170"/>
                  <a:gd name="T31" fmla="*/ 0 h 241"/>
                  <a:gd name="T32" fmla="*/ 110 w 170"/>
                  <a:gd name="T33" fmla="*/ 3 h 241"/>
                  <a:gd name="T34" fmla="*/ 131 w 170"/>
                  <a:gd name="T35" fmla="*/ 12 h 241"/>
                  <a:gd name="T36" fmla="*/ 145 w 170"/>
                  <a:gd name="T37" fmla="*/ 24 h 241"/>
                  <a:gd name="T38" fmla="*/ 154 w 170"/>
                  <a:gd name="T39" fmla="*/ 38 h 241"/>
                  <a:gd name="T40" fmla="*/ 159 w 170"/>
                  <a:gd name="T41" fmla="*/ 52 h 241"/>
                  <a:gd name="T42" fmla="*/ 161 w 170"/>
                  <a:gd name="T43" fmla="*/ 68 h 241"/>
                  <a:gd name="T44" fmla="*/ 156 w 170"/>
                  <a:gd name="T45" fmla="*/ 89 h 241"/>
                  <a:gd name="T46" fmla="*/ 145 w 170"/>
                  <a:gd name="T47" fmla="*/ 110 h 241"/>
                  <a:gd name="T48" fmla="*/ 126 w 170"/>
                  <a:gd name="T49" fmla="*/ 124 h 241"/>
                  <a:gd name="T50" fmla="*/ 100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8 w 170"/>
                  <a:gd name="T57" fmla="*/ 133 h 241"/>
                  <a:gd name="T58" fmla="*/ 33 w 170"/>
                  <a:gd name="T59" fmla="*/ 133 h 241"/>
                  <a:gd name="T60" fmla="*/ 33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3" y="28"/>
                    </a:moveTo>
                    <a:lnTo>
                      <a:pt x="33" y="105"/>
                    </a:lnTo>
                    <a:lnTo>
                      <a:pt x="75" y="105"/>
                    </a:lnTo>
                    <a:lnTo>
                      <a:pt x="89" y="105"/>
                    </a:lnTo>
                    <a:lnTo>
                      <a:pt x="103" y="101"/>
                    </a:lnTo>
                    <a:lnTo>
                      <a:pt x="114" y="96"/>
                    </a:lnTo>
                    <a:lnTo>
                      <a:pt x="124" y="84"/>
                    </a:lnTo>
                    <a:lnTo>
                      <a:pt x="126" y="68"/>
                    </a:lnTo>
                    <a:lnTo>
                      <a:pt x="124" y="52"/>
                    </a:lnTo>
                    <a:lnTo>
                      <a:pt x="114" y="40"/>
                    </a:lnTo>
                    <a:lnTo>
                      <a:pt x="103" y="33"/>
                    </a:lnTo>
                    <a:lnTo>
                      <a:pt x="89" y="31"/>
                    </a:lnTo>
                    <a:lnTo>
                      <a:pt x="75" y="28"/>
                    </a:lnTo>
                    <a:lnTo>
                      <a:pt x="33" y="28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10" y="3"/>
                    </a:lnTo>
                    <a:lnTo>
                      <a:pt x="131" y="12"/>
                    </a:lnTo>
                    <a:lnTo>
                      <a:pt x="145" y="24"/>
                    </a:lnTo>
                    <a:lnTo>
                      <a:pt x="154" y="38"/>
                    </a:lnTo>
                    <a:lnTo>
                      <a:pt x="159" y="52"/>
                    </a:lnTo>
                    <a:lnTo>
                      <a:pt x="161" y="68"/>
                    </a:lnTo>
                    <a:lnTo>
                      <a:pt x="156" y="89"/>
                    </a:lnTo>
                    <a:lnTo>
                      <a:pt x="145" y="110"/>
                    </a:lnTo>
                    <a:lnTo>
                      <a:pt x="126" y="124"/>
                    </a:lnTo>
                    <a:lnTo>
                      <a:pt x="100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8" y="133"/>
                    </a:lnTo>
                    <a:lnTo>
                      <a:pt x="33" y="133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42"/>
              <p:cNvSpPr>
                <a:spLocks/>
              </p:cNvSpPr>
              <p:nvPr userDrawn="1"/>
            </p:nvSpPr>
            <p:spPr bwMode="auto">
              <a:xfrm>
                <a:off x="8937625" y="5280026"/>
                <a:ext cx="512763" cy="382588"/>
              </a:xfrm>
              <a:custGeom>
                <a:avLst/>
                <a:gdLst>
                  <a:gd name="T0" fmla="*/ 0 w 323"/>
                  <a:gd name="T1" fmla="*/ 0 h 241"/>
                  <a:gd name="T2" fmla="*/ 35 w 323"/>
                  <a:gd name="T3" fmla="*/ 0 h 241"/>
                  <a:gd name="T4" fmla="*/ 86 w 323"/>
                  <a:gd name="T5" fmla="*/ 192 h 241"/>
                  <a:gd name="T6" fmla="*/ 86 w 323"/>
                  <a:gd name="T7" fmla="*/ 192 h 241"/>
                  <a:gd name="T8" fmla="*/ 144 w 323"/>
                  <a:gd name="T9" fmla="*/ 0 h 241"/>
                  <a:gd name="T10" fmla="*/ 181 w 323"/>
                  <a:gd name="T11" fmla="*/ 0 h 241"/>
                  <a:gd name="T12" fmla="*/ 237 w 323"/>
                  <a:gd name="T13" fmla="*/ 192 h 241"/>
                  <a:gd name="T14" fmla="*/ 237 w 323"/>
                  <a:gd name="T15" fmla="*/ 192 h 241"/>
                  <a:gd name="T16" fmla="*/ 291 w 323"/>
                  <a:gd name="T17" fmla="*/ 0 h 241"/>
                  <a:gd name="T18" fmla="*/ 323 w 323"/>
                  <a:gd name="T19" fmla="*/ 0 h 241"/>
                  <a:gd name="T20" fmla="*/ 253 w 323"/>
                  <a:gd name="T21" fmla="*/ 241 h 241"/>
                  <a:gd name="T22" fmla="*/ 221 w 323"/>
                  <a:gd name="T23" fmla="*/ 241 h 241"/>
                  <a:gd name="T24" fmla="*/ 163 w 323"/>
                  <a:gd name="T25" fmla="*/ 45 h 241"/>
                  <a:gd name="T26" fmla="*/ 160 w 323"/>
                  <a:gd name="T27" fmla="*/ 45 h 241"/>
                  <a:gd name="T28" fmla="*/ 104 w 323"/>
                  <a:gd name="T29" fmla="*/ 241 h 241"/>
                  <a:gd name="T30" fmla="*/ 69 w 323"/>
                  <a:gd name="T31" fmla="*/ 241 h 241"/>
                  <a:gd name="T32" fmla="*/ 0 w 323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3" h="241">
                    <a:moveTo>
                      <a:pt x="0" y="0"/>
                    </a:moveTo>
                    <a:lnTo>
                      <a:pt x="35" y="0"/>
                    </a:lnTo>
                    <a:lnTo>
                      <a:pt x="86" y="192"/>
                    </a:lnTo>
                    <a:lnTo>
                      <a:pt x="86" y="192"/>
                    </a:lnTo>
                    <a:lnTo>
                      <a:pt x="144" y="0"/>
                    </a:lnTo>
                    <a:lnTo>
                      <a:pt x="181" y="0"/>
                    </a:lnTo>
                    <a:lnTo>
                      <a:pt x="237" y="192"/>
                    </a:lnTo>
                    <a:lnTo>
                      <a:pt x="237" y="192"/>
                    </a:lnTo>
                    <a:lnTo>
                      <a:pt x="291" y="0"/>
                    </a:lnTo>
                    <a:lnTo>
                      <a:pt x="323" y="0"/>
                    </a:lnTo>
                    <a:lnTo>
                      <a:pt x="253" y="241"/>
                    </a:lnTo>
                    <a:lnTo>
                      <a:pt x="221" y="241"/>
                    </a:lnTo>
                    <a:lnTo>
                      <a:pt x="163" y="45"/>
                    </a:lnTo>
                    <a:lnTo>
                      <a:pt x="160" y="45"/>
                    </a:lnTo>
                    <a:lnTo>
                      <a:pt x="104" y="241"/>
                    </a:lnTo>
                    <a:lnTo>
                      <a:pt x="69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3"/>
              <p:cNvSpPr>
                <a:spLocks noEditPoints="1"/>
              </p:cNvSpPr>
              <p:nvPr userDrawn="1"/>
            </p:nvSpPr>
            <p:spPr bwMode="auto">
              <a:xfrm>
                <a:off x="9469438" y="5268913"/>
                <a:ext cx="395288" cy="400050"/>
              </a:xfrm>
              <a:custGeom>
                <a:avLst/>
                <a:gdLst>
                  <a:gd name="T0" fmla="*/ 123 w 249"/>
                  <a:gd name="T1" fmla="*/ 33 h 252"/>
                  <a:gd name="T2" fmla="*/ 93 w 249"/>
                  <a:gd name="T3" fmla="*/ 38 h 252"/>
                  <a:gd name="T4" fmla="*/ 70 w 249"/>
                  <a:gd name="T5" fmla="*/ 49 h 252"/>
                  <a:gd name="T6" fmla="*/ 51 w 249"/>
                  <a:gd name="T7" fmla="*/ 70 h 252"/>
                  <a:gd name="T8" fmla="*/ 37 w 249"/>
                  <a:gd name="T9" fmla="*/ 98 h 252"/>
                  <a:gd name="T10" fmla="*/ 35 w 249"/>
                  <a:gd name="T11" fmla="*/ 126 h 252"/>
                  <a:gd name="T12" fmla="*/ 37 w 249"/>
                  <a:gd name="T13" fmla="*/ 157 h 252"/>
                  <a:gd name="T14" fmla="*/ 51 w 249"/>
                  <a:gd name="T15" fmla="*/ 182 h 252"/>
                  <a:gd name="T16" fmla="*/ 70 w 249"/>
                  <a:gd name="T17" fmla="*/ 203 h 252"/>
                  <a:gd name="T18" fmla="*/ 93 w 249"/>
                  <a:gd name="T19" fmla="*/ 217 h 252"/>
                  <a:gd name="T20" fmla="*/ 123 w 249"/>
                  <a:gd name="T21" fmla="*/ 222 h 252"/>
                  <a:gd name="T22" fmla="*/ 153 w 249"/>
                  <a:gd name="T23" fmla="*/ 217 h 252"/>
                  <a:gd name="T24" fmla="*/ 179 w 249"/>
                  <a:gd name="T25" fmla="*/ 203 h 252"/>
                  <a:gd name="T26" fmla="*/ 198 w 249"/>
                  <a:gd name="T27" fmla="*/ 182 h 252"/>
                  <a:gd name="T28" fmla="*/ 209 w 249"/>
                  <a:gd name="T29" fmla="*/ 157 h 252"/>
                  <a:gd name="T30" fmla="*/ 214 w 249"/>
                  <a:gd name="T31" fmla="*/ 126 h 252"/>
                  <a:gd name="T32" fmla="*/ 209 w 249"/>
                  <a:gd name="T33" fmla="*/ 98 h 252"/>
                  <a:gd name="T34" fmla="*/ 198 w 249"/>
                  <a:gd name="T35" fmla="*/ 70 h 252"/>
                  <a:gd name="T36" fmla="*/ 179 w 249"/>
                  <a:gd name="T37" fmla="*/ 49 h 252"/>
                  <a:gd name="T38" fmla="*/ 153 w 249"/>
                  <a:gd name="T39" fmla="*/ 38 h 252"/>
                  <a:gd name="T40" fmla="*/ 123 w 249"/>
                  <a:gd name="T41" fmla="*/ 33 h 252"/>
                  <a:gd name="T42" fmla="*/ 123 w 249"/>
                  <a:gd name="T43" fmla="*/ 0 h 252"/>
                  <a:gd name="T44" fmla="*/ 165 w 249"/>
                  <a:gd name="T45" fmla="*/ 7 h 252"/>
                  <a:gd name="T46" fmla="*/ 200 w 249"/>
                  <a:gd name="T47" fmla="*/ 26 h 252"/>
                  <a:gd name="T48" fmla="*/ 226 w 249"/>
                  <a:gd name="T49" fmla="*/ 52 h 252"/>
                  <a:gd name="T50" fmla="*/ 242 w 249"/>
                  <a:gd name="T51" fmla="*/ 87 h 252"/>
                  <a:gd name="T52" fmla="*/ 249 w 249"/>
                  <a:gd name="T53" fmla="*/ 126 h 252"/>
                  <a:gd name="T54" fmla="*/ 242 w 249"/>
                  <a:gd name="T55" fmla="*/ 168 h 252"/>
                  <a:gd name="T56" fmla="*/ 226 w 249"/>
                  <a:gd name="T57" fmla="*/ 203 h 252"/>
                  <a:gd name="T58" fmla="*/ 200 w 249"/>
                  <a:gd name="T59" fmla="*/ 229 h 252"/>
                  <a:gd name="T60" fmla="*/ 165 w 249"/>
                  <a:gd name="T61" fmla="*/ 248 h 252"/>
                  <a:gd name="T62" fmla="*/ 123 w 249"/>
                  <a:gd name="T63" fmla="*/ 252 h 252"/>
                  <a:gd name="T64" fmla="*/ 84 w 249"/>
                  <a:gd name="T65" fmla="*/ 248 h 252"/>
                  <a:gd name="T66" fmla="*/ 49 w 249"/>
                  <a:gd name="T67" fmla="*/ 229 h 252"/>
                  <a:gd name="T68" fmla="*/ 23 w 249"/>
                  <a:gd name="T69" fmla="*/ 203 h 252"/>
                  <a:gd name="T70" fmla="*/ 4 w 249"/>
                  <a:gd name="T71" fmla="*/ 168 h 252"/>
                  <a:gd name="T72" fmla="*/ 0 w 249"/>
                  <a:gd name="T73" fmla="*/ 126 h 252"/>
                  <a:gd name="T74" fmla="*/ 4 w 249"/>
                  <a:gd name="T75" fmla="*/ 87 h 252"/>
                  <a:gd name="T76" fmla="*/ 23 w 249"/>
                  <a:gd name="T77" fmla="*/ 52 h 252"/>
                  <a:gd name="T78" fmla="*/ 49 w 249"/>
                  <a:gd name="T79" fmla="*/ 26 h 252"/>
                  <a:gd name="T80" fmla="*/ 84 w 249"/>
                  <a:gd name="T81" fmla="*/ 7 h 252"/>
                  <a:gd name="T82" fmla="*/ 123 w 249"/>
                  <a:gd name="T83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2">
                    <a:moveTo>
                      <a:pt x="123" y="33"/>
                    </a:moveTo>
                    <a:lnTo>
                      <a:pt x="93" y="38"/>
                    </a:lnTo>
                    <a:lnTo>
                      <a:pt x="70" y="49"/>
                    </a:lnTo>
                    <a:lnTo>
                      <a:pt x="51" y="70"/>
                    </a:lnTo>
                    <a:lnTo>
                      <a:pt x="37" y="98"/>
                    </a:lnTo>
                    <a:lnTo>
                      <a:pt x="35" y="126"/>
                    </a:lnTo>
                    <a:lnTo>
                      <a:pt x="37" y="157"/>
                    </a:lnTo>
                    <a:lnTo>
                      <a:pt x="51" y="182"/>
                    </a:lnTo>
                    <a:lnTo>
                      <a:pt x="70" y="203"/>
                    </a:lnTo>
                    <a:lnTo>
                      <a:pt x="93" y="217"/>
                    </a:lnTo>
                    <a:lnTo>
                      <a:pt x="123" y="222"/>
                    </a:lnTo>
                    <a:lnTo>
                      <a:pt x="153" y="217"/>
                    </a:lnTo>
                    <a:lnTo>
                      <a:pt x="179" y="203"/>
                    </a:lnTo>
                    <a:lnTo>
                      <a:pt x="198" y="182"/>
                    </a:lnTo>
                    <a:lnTo>
                      <a:pt x="209" y="157"/>
                    </a:lnTo>
                    <a:lnTo>
                      <a:pt x="214" y="126"/>
                    </a:lnTo>
                    <a:lnTo>
                      <a:pt x="209" y="98"/>
                    </a:lnTo>
                    <a:lnTo>
                      <a:pt x="198" y="70"/>
                    </a:lnTo>
                    <a:lnTo>
                      <a:pt x="179" y="49"/>
                    </a:lnTo>
                    <a:lnTo>
                      <a:pt x="153" y="38"/>
                    </a:lnTo>
                    <a:lnTo>
                      <a:pt x="123" y="33"/>
                    </a:lnTo>
                    <a:close/>
                    <a:moveTo>
                      <a:pt x="123" y="0"/>
                    </a:moveTo>
                    <a:lnTo>
                      <a:pt x="165" y="7"/>
                    </a:lnTo>
                    <a:lnTo>
                      <a:pt x="200" y="26"/>
                    </a:lnTo>
                    <a:lnTo>
                      <a:pt x="226" y="52"/>
                    </a:lnTo>
                    <a:lnTo>
                      <a:pt x="242" y="87"/>
                    </a:lnTo>
                    <a:lnTo>
                      <a:pt x="249" y="126"/>
                    </a:lnTo>
                    <a:lnTo>
                      <a:pt x="242" y="168"/>
                    </a:lnTo>
                    <a:lnTo>
                      <a:pt x="226" y="203"/>
                    </a:lnTo>
                    <a:lnTo>
                      <a:pt x="200" y="229"/>
                    </a:lnTo>
                    <a:lnTo>
                      <a:pt x="165" y="248"/>
                    </a:lnTo>
                    <a:lnTo>
                      <a:pt x="123" y="252"/>
                    </a:lnTo>
                    <a:lnTo>
                      <a:pt x="84" y="248"/>
                    </a:lnTo>
                    <a:lnTo>
                      <a:pt x="49" y="229"/>
                    </a:lnTo>
                    <a:lnTo>
                      <a:pt x="23" y="203"/>
                    </a:lnTo>
                    <a:lnTo>
                      <a:pt x="4" y="168"/>
                    </a:lnTo>
                    <a:lnTo>
                      <a:pt x="0" y="126"/>
                    </a:lnTo>
                    <a:lnTo>
                      <a:pt x="4" y="87"/>
                    </a:lnTo>
                    <a:lnTo>
                      <a:pt x="23" y="52"/>
                    </a:lnTo>
                    <a:lnTo>
                      <a:pt x="49" y="26"/>
                    </a:lnTo>
                    <a:lnTo>
                      <a:pt x="84" y="7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44"/>
              <p:cNvSpPr>
                <a:spLocks noEditPoints="1"/>
              </p:cNvSpPr>
              <p:nvPr userDrawn="1"/>
            </p:nvSpPr>
            <p:spPr bwMode="auto">
              <a:xfrm>
                <a:off x="9931400" y="5280026"/>
                <a:ext cx="269875" cy="382588"/>
              </a:xfrm>
              <a:custGeom>
                <a:avLst/>
                <a:gdLst>
                  <a:gd name="T0" fmla="*/ 32 w 170"/>
                  <a:gd name="T1" fmla="*/ 28 h 241"/>
                  <a:gd name="T2" fmla="*/ 32 w 170"/>
                  <a:gd name="T3" fmla="*/ 105 h 241"/>
                  <a:gd name="T4" fmla="*/ 74 w 170"/>
                  <a:gd name="T5" fmla="*/ 105 h 241"/>
                  <a:gd name="T6" fmla="*/ 88 w 170"/>
                  <a:gd name="T7" fmla="*/ 105 h 241"/>
                  <a:gd name="T8" fmla="*/ 102 w 170"/>
                  <a:gd name="T9" fmla="*/ 101 h 241"/>
                  <a:gd name="T10" fmla="*/ 114 w 170"/>
                  <a:gd name="T11" fmla="*/ 96 h 241"/>
                  <a:gd name="T12" fmla="*/ 123 w 170"/>
                  <a:gd name="T13" fmla="*/ 84 h 241"/>
                  <a:gd name="T14" fmla="*/ 125 w 170"/>
                  <a:gd name="T15" fmla="*/ 68 h 241"/>
                  <a:gd name="T16" fmla="*/ 123 w 170"/>
                  <a:gd name="T17" fmla="*/ 52 h 241"/>
                  <a:gd name="T18" fmla="*/ 114 w 170"/>
                  <a:gd name="T19" fmla="*/ 40 h 241"/>
                  <a:gd name="T20" fmla="*/ 102 w 170"/>
                  <a:gd name="T21" fmla="*/ 33 h 241"/>
                  <a:gd name="T22" fmla="*/ 88 w 170"/>
                  <a:gd name="T23" fmla="*/ 31 h 241"/>
                  <a:gd name="T24" fmla="*/ 74 w 170"/>
                  <a:gd name="T25" fmla="*/ 28 h 241"/>
                  <a:gd name="T26" fmla="*/ 32 w 170"/>
                  <a:gd name="T27" fmla="*/ 28 h 241"/>
                  <a:gd name="T28" fmla="*/ 0 w 170"/>
                  <a:gd name="T29" fmla="*/ 0 h 241"/>
                  <a:gd name="T30" fmla="*/ 83 w 170"/>
                  <a:gd name="T31" fmla="*/ 0 h 241"/>
                  <a:gd name="T32" fmla="*/ 109 w 170"/>
                  <a:gd name="T33" fmla="*/ 3 h 241"/>
                  <a:gd name="T34" fmla="*/ 130 w 170"/>
                  <a:gd name="T35" fmla="*/ 12 h 241"/>
                  <a:gd name="T36" fmla="*/ 144 w 170"/>
                  <a:gd name="T37" fmla="*/ 24 h 241"/>
                  <a:gd name="T38" fmla="*/ 153 w 170"/>
                  <a:gd name="T39" fmla="*/ 38 h 241"/>
                  <a:gd name="T40" fmla="*/ 158 w 170"/>
                  <a:gd name="T41" fmla="*/ 52 h 241"/>
                  <a:gd name="T42" fmla="*/ 160 w 170"/>
                  <a:gd name="T43" fmla="*/ 68 h 241"/>
                  <a:gd name="T44" fmla="*/ 156 w 170"/>
                  <a:gd name="T45" fmla="*/ 89 h 241"/>
                  <a:gd name="T46" fmla="*/ 144 w 170"/>
                  <a:gd name="T47" fmla="*/ 110 h 241"/>
                  <a:gd name="T48" fmla="*/ 125 w 170"/>
                  <a:gd name="T49" fmla="*/ 124 h 241"/>
                  <a:gd name="T50" fmla="*/ 100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7 w 170"/>
                  <a:gd name="T57" fmla="*/ 133 h 241"/>
                  <a:gd name="T58" fmla="*/ 32 w 170"/>
                  <a:gd name="T59" fmla="*/ 133 h 241"/>
                  <a:gd name="T60" fmla="*/ 32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88" y="105"/>
                    </a:lnTo>
                    <a:lnTo>
                      <a:pt x="102" y="101"/>
                    </a:lnTo>
                    <a:lnTo>
                      <a:pt x="114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2"/>
                    </a:lnTo>
                    <a:lnTo>
                      <a:pt x="114" y="40"/>
                    </a:lnTo>
                    <a:lnTo>
                      <a:pt x="102" y="33"/>
                    </a:lnTo>
                    <a:lnTo>
                      <a:pt x="88" y="31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09" y="3"/>
                    </a:lnTo>
                    <a:lnTo>
                      <a:pt x="130" y="12"/>
                    </a:lnTo>
                    <a:lnTo>
                      <a:pt x="144" y="24"/>
                    </a:lnTo>
                    <a:lnTo>
                      <a:pt x="153" y="38"/>
                    </a:lnTo>
                    <a:lnTo>
                      <a:pt x="158" y="52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0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7" y="133"/>
                    </a:lnTo>
                    <a:lnTo>
                      <a:pt x="32" y="133"/>
                    </a:lnTo>
                    <a:lnTo>
                      <a:pt x="3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5"/>
              <p:cNvSpPr>
                <a:spLocks/>
              </p:cNvSpPr>
              <p:nvPr userDrawn="1"/>
            </p:nvSpPr>
            <p:spPr bwMode="auto">
              <a:xfrm>
                <a:off x="10248900" y="5280026"/>
                <a:ext cx="225425" cy="382588"/>
              </a:xfrm>
              <a:custGeom>
                <a:avLst/>
                <a:gdLst>
                  <a:gd name="T0" fmla="*/ 0 w 142"/>
                  <a:gd name="T1" fmla="*/ 0 h 241"/>
                  <a:gd name="T2" fmla="*/ 32 w 142"/>
                  <a:gd name="T3" fmla="*/ 0 h 241"/>
                  <a:gd name="T4" fmla="*/ 32 w 142"/>
                  <a:gd name="T5" fmla="*/ 210 h 241"/>
                  <a:gd name="T6" fmla="*/ 142 w 142"/>
                  <a:gd name="T7" fmla="*/ 210 h 241"/>
                  <a:gd name="T8" fmla="*/ 142 w 142"/>
                  <a:gd name="T9" fmla="*/ 241 h 241"/>
                  <a:gd name="T10" fmla="*/ 0 w 142"/>
                  <a:gd name="T11" fmla="*/ 241 h 241"/>
                  <a:gd name="T12" fmla="*/ 0 w 142"/>
                  <a:gd name="T1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2" h="241">
                    <a:moveTo>
                      <a:pt x="0" y="0"/>
                    </a:moveTo>
                    <a:lnTo>
                      <a:pt x="32" y="0"/>
                    </a:lnTo>
                    <a:lnTo>
                      <a:pt x="32" y="210"/>
                    </a:lnTo>
                    <a:lnTo>
                      <a:pt x="142" y="210"/>
                    </a:lnTo>
                    <a:lnTo>
                      <a:pt x="14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46"/>
              <p:cNvSpPr>
                <a:spLocks noEditPoints="1"/>
              </p:cNvSpPr>
              <p:nvPr userDrawn="1"/>
            </p:nvSpPr>
            <p:spPr bwMode="auto">
              <a:xfrm>
                <a:off x="10510838" y="5280026"/>
                <a:ext cx="328613" cy="382588"/>
              </a:xfrm>
              <a:custGeom>
                <a:avLst/>
                <a:gdLst>
                  <a:gd name="T0" fmla="*/ 33 w 207"/>
                  <a:gd name="T1" fmla="*/ 31 h 241"/>
                  <a:gd name="T2" fmla="*/ 33 w 207"/>
                  <a:gd name="T3" fmla="*/ 210 h 241"/>
                  <a:gd name="T4" fmla="*/ 72 w 207"/>
                  <a:gd name="T5" fmla="*/ 210 h 241"/>
                  <a:gd name="T6" fmla="*/ 105 w 207"/>
                  <a:gd name="T7" fmla="*/ 206 h 241"/>
                  <a:gd name="T8" fmla="*/ 133 w 207"/>
                  <a:gd name="T9" fmla="*/ 194 h 241"/>
                  <a:gd name="T10" fmla="*/ 154 w 207"/>
                  <a:gd name="T11" fmla="*/ 178 h 241"/>
                  <a:gd name="T12" fmla="*/ 168 w 207"/>
                  <a:gd name="T13" fmla="*/ 152 h 241"/>
                  <a:gd name="T14" fmla="*/ 175 w 207"/>
                  <a:gd name="T15" fmla="*/ 119 h 241"/>
                  <a:gd name="T16" fmla="*/ 172 w 207"/>
                  <a:gd name="T17" fmla="*/ 105 h 241"/>
                  <a:gd name="T18" fmla="*/ 170 w 207"/>
                  <a:gd name="T19" fmla="*/ 89 h 241"/>
                  <a:gd name="T20" fmla="*/ 161 w 207"/>
                  <a:gd name="T21" fmla="*/ 73 h 241"/>
                  <a:gd name="T22" fmla="*/ 149 w 207"/>
                  <a:gd name="T23" fmla="*/ 56 h 241"/>
                  <a:gd name="T24" fmla="*/ 133 w 207"/>
                  <a:gd name="T25" fmla="*/ 42 h 241"/>
                  <a:gd name="T26" fmla="*/ 109 w 207"/>
                  <a:gd name="T27" fmla="*/ 35 h 241"/>
                  <a:gd name="T28" fmla="*/ 82 w 207"/>
                  <a:gd name="T29" fmla="*/ 31 h 241"/>
                  <a:gd name="T30" fmla="*/ 33 w 207"/>
                  <a:gd name="T31" fmla="*/ 31 h 241"/>
                  <a:gd name="T32" fmla="*/ 0 w 207"/>
                  <a:gd name="T33" fmla="*/ 0 h 241"/>
                  <a:gd name="T34" fmla="*/ 84 w 207"/>
                  <a:gd name="T35" fmla="*/ 0 h 241"/>
                  <a:gd name="T36" fmla="*/ 121 w 207"/>
                  <a:gd name="T37" fmla="*/ 5 h 241"/>
                  <a:gd name="T38" fmla="*/ 151 w 207"/>
                  <a:gd name="T39" fmla="*/ 17 h 241"/>
                  <a:gd name="T40" fmla="*/ 175 w 207"/>
                  <a:gd name="T41" fmla="*/ 33 h 241"/>
                  <a:gd name="T42" fmla="*/ 191 w 207"/>
                  <a:gd name="T43" fmla="*/ 54 h 241"/>
                  <a:gd name="T44" fmla="*/ 200 w 207"/>
                  <a:gd name="T45" fmla="*/ 77 h 241"/>
                  <a:gd name="T46" fmla="*/ 207 w 207"/>
                  <a:gd name="T47" fmla="*/ 101 h 241"/>
                  <a:gd name="T48" fmla="*/ 207 w 207"/>
                  <a:gd name="T49" fmla="*/ 119 h 241"/>
                  <a:gd name="T50" fmla="*/ 205 w 207"/>
                  <a:gd name="T51" fmla="*/ 150 h 241"/>
                  <a:gd name="T52" fmla="*/ 193 w 207"/>
                  <a:gd name="T53" fmla="*/ 178 h 241"/>
                  <a:gd name="T54" fmla="*/ 175 w 207"/>
                  <a:gd name="T55" fmla="*/ 203 h 241"/>
                  <a:gd name="T56" fmla="*/ 149 w 207"/>
                  <a:gd name="T57" fmla="*/ 222 h 241"/>
                  <a:gd name="T58" fmla="*/ 116 w 207"/>
                  <a:gd name="T59" fmla="*/ 236 h 241"/>
                  <a:gd name="T60" fmla="*/ 77 w 207"/>
                  <a:gd name="T61" fmla="*/ 241 h 241"/>
                  <a:gd name="T62" fmla="*/ 0 w 207"/>
                  <a:gd name="T63" fmla="*/ 241 h 241"/>
                  <a:gd name="T64" fmla="*/ 0 w 207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7" h="241">
                    <a:moveTo>
                      <a:pt x="33" y="31"/>
                    </a:moveTo>
                    <a:lnTo>
                      <a:pt x="33" y="210"/>
                    </a:lnTo>
                    <a:lnTo>
                      <a:pt x="72" y="210"/>
                    </a:lnTo>
                    <a:lnTo>
                      <a:pt x="105" y="206"/>
                    </a:lnTo>
                    <a:lnTo>
                      <a:pt x="133" y="194"/>
                    </a:lnTo>
                    <a:lnTo>
                      <a:pt x="154" y="178"/>
                    </a:lnTo>
                    <a:lnTo>
                      <a:pt x="168" y="152"/>
                    </a:lnTo>
                    <a:lnTo>
                      <a:pt x="175" y="119"/>
                    </a:lnTo>
                    <a:lnTo>
                      <a:pt x="172" y="105"/>
                    </a:lnTo>
                    <a:lnTo>
                      <a:pt x="170" y="89"/>
                    </a:lnTo>
                    <a:lnTo>
                      <a:pt x="161" y="73"/>
                    </a:lnTo>
                    <a:lnTo>
                      <a:pt x="149" y="56"/>
                    </a:lnTo>
                    <a:lnTo>
                      <a:pt x="133" y="42"/>
                    </a:lnTo>
                    <a:lnTo>
                      <a:pt x="109" y="35"/>
                    </a:lnTo>
                    <a:lnTo>
                      <a:pt x="82" y="31"/>
                    </a:lnTo>
                    <a:lnTo>
                      <a:pt x="33" y="31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21" y="5"/>
                    </a:lnTo>
                    <a:lnTo>
                      <a:pt x="151" y="17"/>
                    </a:lnTo>
                    <a:lnTo>
                      <a:pt x="175" y="33"/>
                    </a:lnTo>
                    <a:lnTo>
                      <a:pt x="191" y="54"/>
                    </a:lnTo>
                    <a:lnTo>
                      <a:pt x="200" y="77"/>
                    </a:lnTo>
                    <a:lnTo>
                      <a:pt x="207" y="101"/>
                    </a:lnTo>
                    <a:lnTo>
                      <a:pt x="207" y="119"/>
                    </a:lnTo>
                    <a:lnTo>
                      <a:pt x="205" y="150"/>
                    </a:lnTo>
                    <a:lnTo>
                      <a:pt x="193" y="178"/>
                    </a:lnTo>
                    <a:lnTo>
                      <a:pt x="175" y="203"/>
                    </a:lnTo>
                    <a:lnTo>
                      <a:pt x="149" y="222"/>
                    </a:lnTo>
                    <a:lnTo>
                      <a:pt x="116" y="236"/>
                    </a:lnTo>
                    <a:lnTo>
                      <a:pt x="77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9037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</p:sldLayoutIdLst>
  <p:transition>
    <p:fade/>
  </p:transition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37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891" indent="-342891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971" indent="-228594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160" indent="-228594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9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537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726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914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103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66" name="Rectangle 226"/>
          <p:cNvSpPr>
            <a:spLocks noGrp="1" noChangeArrowheads="1"/>
          </p:cNvSpPr>
          <p:nvPr>
            <p:ph type="title"/>
          </p:nvPr>
        </p:nvSpPr>
        <p:spPr bwMode="auto">
          <a:xfrm>
            <a:off x="300682" y="280713"/>
            <a:ext cx="11634385" cy="654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Title Goes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idx="1"/>
          </p:nvPr>
        </p:nvSpPr>
        <p:spPr>
          <a:xfrm>
            <a:off x="299523" y="1019916"/>
            <a:ext cx="11647055" cy="46660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1"/>
          <p:cNvSpPr txBox="1">
            <a:spLocks/>
          </p:cNvSpPr>
          <p:nvPr userDrawn="1"/>
        </p:nvSpPr>
        <p:spPr>
          <a:xfrm>
            <a:off x="333814" y="6279998"/>
            <a:ext cx="596447" cy="277811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9899D5D8-9A89-49C6-87E2-D5B81659BB09}" type="slidenum">
              <a:rPr lang="en-US" sz="975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sz="975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963248" y="6298064"/>
            <a:ext cx="4685831" cy="3087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975" cap="all" dirty="0">
                <a:solidFill>
                  <a:srgbClr val="000000">
                    <a:lumMod val="50000"/>
                    <a:lumOff val="50000"/>
                  </a:srgbClr>
                </a:solidFill>
              </a:rPr>
              <a:t>CONFIDENTIAL AND PROPRIETARY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10478052" y="6127037"/>
            <a:ext cx="1246883" cy="336844"/>
            <a:chOff x="271463" y="2852738"/>
            <a:chExt cx="3190876" cy="1149350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77976" y="2852738"/>
              <a:ext cx="609600" cy="1149350"/>
            </a:xfrm>
            <a:custGeom>
              <a:avLst/>
              <a:gdLst>
                <a:gd name="T0" fmla="*/ 0 w 384"/>
                <a:gd name="T1" fmla="*/ 0 h 724"/>
                <a:gd name="T2" fmla="*/ 41 w 384"/>
                <a:gd name="T3" fmla="*/ 0 h 724"/>
                <a:gd name="T4" fmla="*/ 192 w 384"/>
                <a:gd name="T5" fmla="*/ 241 h 724"/>
                <a:gd name="T6" fmla="*/ 341 w 384"/>
                <a:gd name="T7" fmla="*/ 0 h 724"/>
                <a:gd name="T8" fmla="*/ 382 w 384"/>
                <a:gd name="T9" fmla="*/ 0 h 724"/>
                <a:gd name="T10" fmla="*/ 382 w 384"/>
                <a:gd name="T11" fmla="*/ 723 h 724"/>
                <a:gd name="T12" fmla="*/ 384 w 384"/>
                <a:gd name="T13" fmla="*/ 724 h 724"/>
                <a:gd name="T14" fmla="*/ 341 w 384"/>
                <a:gd name="T15" fmla="*/ 724 h 724"/>
                <a:gd name="T16" fmla="*/ 192 w 384"/>
                <a:gd name="T17" fmla="*/ 483 h 724"/>
                <a:gd name="T18" fmla="*/ 41 w 384"/>
                <a:gd name="T19" fmla="*/ 724 h 724"/>
                <a:gd name="T20" fmla="*/ 0 w 384"/>
                <a:gd name="T21" fmla="*/ 724 h 724"/>
                <a:gd name="T22" fmla="*/ 0 w 384"/>
                <a:gd name="T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724">
                  <a:moveTo>
                    <a:pt x="0" y="0"/>
                  </a:moveTo>
                  <a:lnTo>
                    <a:pt x="41" y="0"/>
                  </a:lnTo>
                  <a:lnTo>
                    <a:pt x="192" y="241"/>
                  </a:lnTo>
                  <a:lnTo>
                    <a:pt x="341" y="0"/>
                  </a:lnTo>
                  <a:lnTo>
                    <a:pt x="382" y="0"/>
                  </a:lnTo>
                  <a:lnTo>
                    <a:pt x="382" y="723"/>
                  </a:lnTo>
                  <a:lnTo>
                    <a:pt x="384" y="724"/>
                  </a:lnTo>
                  <a:lnTo>
                    <a:pt x="341" y="724"/>
                  </a:lnTo>
                  <a:lnTo>
                    <a:pt x="192" y="483"/>
                  </a:lnTo>
                  <a:lnTo>
                    <a:pt x="41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B2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5551" y="2852738"/>
              <a:ext cx="352425" cy="1149350"/>
            </a:xfrm>
            <a:custGeom>
              <a:avLst/>
              <a:gdLst>
                <a:gd name="T0" fmla="*/ 0 w 222"/>
                <a:gd name="T1" fmla="*/ 0 h 724"/>
                <a:gd name="T2" fmla="*/ 222 w 222"/>
                <a:gd name="T3" fmla="*/ 0 h 724"/>
                <a:gd name="T4" fmla="*/ 222 w 222"/>
                <a:gd name="T5" fmla="*/ 724 h 724"/>
                <a:gd name="T6" fmla="*/ 0 w 222"/>
                <a:gd name="T7" fmla="*/ 724 h 724"/>
                <a:gd name="T8" fmla="*/ 222 w 222"/>
                <a:gd name="T9" fmla="*/ 361 h 724"/>
                <a:gd name="T10" fmla="*/ 0 w 222"/>
                <a:gd name="T1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724">
                  <a:moveTo>
                    <a:pt x="0" y="0"/>
                  </a:moveTo>
                  <a:lnTo>
                    <a:pt x="222" y="0"/>
                  </a:lnTo>
                  <a:lnTo>
                    <a:pt x="222" y="724"/>
                  </a:lnTo>
                  <a:lnTo>
                    <a:pt x="0" y="724"/>
                  </a:lnTo>
                  <a:lnTo>
                    <a:pt x="222" y="3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843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2184401" y="2852738"/>
              <a:ext cx="354013" cy="1149350"/>
            </a:xfrm>
            <a:custGeom>
              <a:avLst/>
              <a:gdLst>
                <a:gd name="T0" fmla="*/ 0 w 223"/>
                <a:gd name="T1" fmla="*/ 0 h 724"/>
                <a:gd name="T2" fmla="*/ 223 w 223"/>
                <a:gd name="T3" fmla="*/ 0 h 724"/>
                <a:gd name="T4" fmla="*/ 2 w 223"/>
                <a:gd name="T5" fmla="*/ 361 h 724"/>
                <a:gd name="T6" fmla="*/ 223 w 223"/>
                <a:gd name="T7" fmla="*/ 724 h 724"/>
                <a:gd name="T8" fmla="*/ 2 w 223"/>
                <a:gd name="T9" fmla="*/ 724 h 724"/>
                <a:gd name="T10" fmla="*/ 0 w 223"/>
                <a:gd name="T11" fmla="*/ 723 h 724"/>
                <a:gd name="T12" fmla="*/ 0 w 223"/>
                <a:gd name="T1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724">
                  <a:moveTo>
                    <a:pt x="0" y="0"/>
                  </a:moveTo>
                  <a:lnTo>
                    <a:pt x="223" y="0"/>
                  </a:lnTo>
                  <a:lnTo>
                    <a:pt x="2" y="361"/>
                  </a:lnTo>
                  <a:lnTo>
                    <a:pt x="223" y="724"/>
                  </a:lnTo>
                  <a:lnTo>
                    <a:pt x="2" y="724"/>
                  </a:lnTo>
                  <a:lnTo>
                    <a:pt x="0" y="7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98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187576" y="2852738"/>
              <a:ext cx="1274763" cy="1149350"/>
            </a:xfrm>
            <a:custGeom>
              <a:avLst/>
              <a:gdLst>
                <a:gd name="T0" fmla="*/ 221 w 803"/>
                <a:gd name="T1" fmla="*/ 179 h 724"/>
                <a:gd name="T2" fmla="*/ 221 w 803"/>
                <a:gd name="T3" fmla="*/ 383 h 724"/>
                <a:gd name="T4" fmla="*/ 523 w 803"/>
                <a:gd name="T5" fmla="*/ 383 h 724"/>
                <a:gd name="T6" fmla="*/ 543 w 803"/>
                <a:gd name="T7" fmla="*/ 382 h 724"/>
                <a:gd name="T8" fmla="*/ 560 w 803"/>
                <a:gd name="T9" fmla="*/ 374 h 724"/>
                <a:gd name="T10" fmla="*/ 573 w 803"/>
                <a:gd name="T11" fmla="*/ 361 h 724"/>
                <a:gd name="T12" fmla="*/ 583 w 803"/>
                <a:gd name="T13" fmla="*/ 346 h 724"/>
                <a:gd name="T14" fmla="*/ 589 w 803"/>
                <a:gd name="T15" fmla="*/ 329 h 724"/>
                <a:gd name="T16" fmla="*/ 594 w 803"/>
                <a:gd name="T17" fmla="*/ 310 h 724"/>
                <a:gd name="T18" fmla="*/ 596 w 803"/>
                <a:gd name="T19" fmla="*/ 292 h 724"/>
                <a:gd name="T20" fmla="*/ 596 w 803"/>
                <a:gd name="T21" fmla="*/ 256 h 724"/>
                <a:gd name="T22" fmla="*/ 592 w 803"/>
                <a:gd name="T23" fmla="*/ 233 h 724"/>
                <a:gd name="T24" fmla="*/ 586 w 803"/>
                <a:gd name="T25" fmla="*/ 215 h 724"/>
                <a:gd name="T26" fmla="*/ 574 w 803"/>
                <a:gd name="T27" fmla="*/ 200 h 724"/>
                <a:gd name="T28" fmla="*/ 558 w 803"/>
                <a:gd name="T29" fmla="*/ 188 h 724"/>
                <a:gd name="T30" fmla="*/ 533 w 803"/>
                <a:gd name="T31" fmla="*/ 182 h 724"/>
                <a:gd name="T32" fmla="*/ 504 w 803"/>
                <a:gd name="T33" fmla="*/ 179 h 724"/>
                <a:gd name="T34" fmla="*/ 221 w 803"/>
                <a:gd name="T35" fmla="*/ 179 h 724"/>
                <a:gd name="T36" fmla="*/ 221 w 803"/>
                <a:gd name="T37" fmla="*/ 0 h 724"/>
                <a:gd name="T38" fmla="*/ 540 w 803"/>
                <a:gd name="T39" fmla="*/ 0 h 724"/>
                <a:gd name="T40" fmla="*/ 589 w 803"/>
                <a:gd name="T41" fmla="*/ 2 h 724"/>
                <a:gd name="T42" fmla="*/ 633 w 803"/>
                <a:gd name="T43" fmla="*/ 8 h 724"/>
                <a:gd name="T44" fmla="*/ 670 w 803"/>
                <a:gd name="T45" fmla="*/ 18 h 724"/>
                <a:gd name="T46" fmla="*/ 702 w 803"/>
                <a:gd name="T47" fmla="*/ 33 h 724"/>
                <a:gd name="T48" fmla="*/ 729 w 803"/>
                <a:gd name="T49" fmla="*/ 49 h 724"/>
                <a:gd name="T50" fmla="*/ 750 w 803"/>
                <a:gd name="T51" fmla="*/ 70 h 724"/>
                <a:gd name="T52" fmla="*/ 768 w 803"/>
                <a:gd name="T53" fmla="*/ 93 h 724"/>
                <a:gd name="T54" fmla="*/ 781 w 803"/>
                <a:gd name="T55" fmla="*/ 120 h 724"/>
                <a:gd name="T56" fmla="*/ 791 w 803"/>
                <a:gd name="T57" fmla="*/ 149 h 724"/>
                <a:gd name="T58" fmla="*/ 798 w 803"/>
                <a:gd name="T59" fmla="*/ 180 h 724"/>
                <a:gd name="T60" fmla="*/ 803 w 803"/>
                <a:gd name="T61" fmla="*/ 213 h 724"/>
                <a:gd name="T62" fmla="*/ 803 w 803"/>
                <a:gd name="T63" fmla="*/ 247 h 724"/>
                <a:gd name="T64" fmla="*/ 803 w 803"/>
                <a:gd name="T65" fmla="*/ 333 h 724"/>
                <a:gd name="T66" fmla="*/ 803 w 803"/>
                <a:gd name="T67" fmla="*/ 361 h 724"/>
                <a:gd name="T68" fmla="*/ 798 w 803"/>
                <a:gd name="T69" fmla="*/ 392 h 724"/>
                <a:gd name="T70" fmla="*/ 791 w 803"/>
                <a:gd name="T71" fmla="*/ 421 h 724"/>
                <a:gd name="T72" fmla="*/ 781 w 803"/>
                <a:gd name="T73" fmla="*/ 449 h 724"/>
                <a:gd name="T74" fmla="*/ 768 w 803"/>
                <a:gd name="T75" fmla="*/ 475 h 724"/>
                <a:gd name="T76" fmla="*/ 750 w 803"/>
                <a:gd name="T77" fmla="*/ 500 h 724"/>
                <a:gd name="T78" fmla="*/ 729 w 803"/>
                <a:gd name="T79" fmla="*/ 521 h 724"/>
                <a:gd name="T80" fmla="*/ 704 w 803"/>
                <a:gd name="T81" fmla="*/ 539 h 724"/>
                <a:gd name="T82" fmla="*/ 673 w 803"/>
                <a:gd name="T83" fmla="*/ 552 h 724"/>
                <a:gd name="T84" fmla="*/ 638 w 803"/>
                <a:gd name="T85" fmla="*/ 560 h 724"/>
                <a:gd name="T86" fmla="*/ 597 w 803"/>
                <a:gd name="T87" fmla="*/ 564 h 724"/>
                <a:gd name="T88" fmla="*/ 221 w 803"/>
                <a:gd name="T89" fmla="*/ 564 h 724"/>
                <a:gd name="T90" fmla="*/ 221 w 803"/>
                <a:gd name="T91" fmla="*/ 724 h 724"/>
                <a:gd name="T92" fmla="*/ 221 w 803"/>
                <a:gd name="T93" fmla="*/ 724 h 724"/>
                <a:gd name="T94" fmla="*/ 0 w 803"/>
                <a:gd name="T95" fmla="*/ 361 h 724"/>
                <a:gd name="T96" fmla="*/ 221 w 803"/>
                <a:gd name="T97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3" h="724">
                  <a:moveTo>
                    <a:pt x="221" y="179"/>
                  </a:moveTo>
                  <a:lnTo>
                    <a:pt x="221" y="383"/>
                  </a:lnTo>
                  <a:lnTo>
                    <a:pt x="523" y="383"/>
                  </a:lnTo>
                  <a:lnTo>
                    <a:pt x="543" y="382"/>
                  </a:lnTo>
                  <a:lnTo>
                    <a:pt x="560" y="374"/>
                  </a:lnTo>
                  <a:lnTo>
                    <a:pt x="573" y="361"/>
                  </a:lnTo>
                  <a:lnTo>
                    <a:pt x="583" y="346"/>
                  </a:lnTo>
                  <a:lnTo>
                    <a:pt x="589" y="329"/>
                  </a:lnTo>
                  <a:lnTo>
                    <a:pt x="594" y="310"/>
                  </a:lnTo>
                  <a:lnTo>
                    <a:pt x="596" y="292"/>
                  </a:lnTo>
                  <a:lnTo>
                    <a:pt x="596" y="256"/>
                  </a:lnTo>
                  <a:lnTo>
                    <a:pt x="592" y="233"/>
                  </a:lnTo>
                  <a:lnTo>
                    <a:pt x="586" y="215"/>
                  </a:lnTo>
                  <a:lnTo>
                    <a:pt x="574" y="200"/>
                  </a:lnTo>
                  <a:lnTo>
                    <a:pt x="558" y="188"/>
                  </a:lnTo>
                  <a:lnTo>
                    <a:pt x="533" y="182"/>
                  </a:lnTo>
                  <a:lnTo>
                    <a:pt x="504" y="179"/>
                  </a:lnTo>
                  <a:lnTo>
                    <a:pt x="221" y="179"/>
                  </a:lnTo>
                  <a:close/>
                  <a:moveTo>
                    <a:pt x="221" y="0"/>
                  </a:moveTo>
                  <a:lnTo>
                    <a:pt x="540" y="0"/>
                  </a:lnTo>
                  <a:lnTo>
                    <a:pt x="589" y="2"/>
                  </a:lnTo>
                  <a:lnTo>
                    <a:pt x="633" y="8"/>
                  </a:lnTo>
                  <a:lnTo>
                    <a:pt x="670" y="18"/>
                  </a:lnTo>
                  <a:lnTo>
                    <a:pt x="702" y="33"/>
                  </a:lnTo>
                  <a:lnTo>
                    <a:pt x="729" y="49"/>
                  </a:lnTo>
                  <a:lnTo>
                    <a:pt x="750" y="70"/>
                  </a:lnTo>
                  <a:lnTo>
                    <a:pt x="768" y="93"/>
                  </a:lnTo>
                  <a:lnTo>
                    <a:pt x="781" y="120"/>
                  </a:lnTo>
                  <a:lnTo>
                    <a:pt x="791" y="149"/>
                  </a:lnTo>
                  <a:lnTo>
                    <a:pt x="798" y="180"/>
                  </a:lnTo>
                  <a:lnTo>
                    <a:pt x="803" y="213"/>
                  </a:lnTo>
                  <a:lnTo>
                    <a:pt x="803" y="247"/>
                  </a:lnTo>
                  <a:lnTo>
                    <a:pt x="803" y="333"/>
                  </a:lnTo>
                  <a:lnTo>
                    <a:pt x="803" y="361"/>
                  </a:lnTo>
                  <a:lnTo>
                    <a:pt x="798" y="392"/>
                  </a:lnTo>
                  <a:lnTo>
                    <a:pt x="791" y="421"/>
                  </a:lnTo>
                  <a:lnTo>
                    <a:pt x="781" y="449"/>
                  </a:lnTo>
                  <a:lnTo>
                    <a:pt x="768" y="475"/>
                  </a:lnTo>
                  <a:lnTo>
                    <a:pt x="750" y="500"/>
                  </a:lnTo>
                  <a:lnTo>
                    <a:pt x="729" y="521"/>
                  </a:lnTo>
                  <a:lnTo>
                    <a:pt x="704" y="539"/>
                  </a:lnTo>
                  <a:lnTo>
                    <a:pt x="673" y="552"/>
                  </a:lnTo>
                  <a:lnTo>
                    <a:pt x="638" y="560"/>
                  </a:lnTo>
                  <a:lnTo>
                    <a:pt x="597" y="564"/>
                  </a:lnTo>
                  <a:lnTo>
                    <a:pt x="221" y="564"/>
                  </a:lnTo>
                  <a:lnTo>
                    <a:pt x="221" y="724"/>
                  </a:lnTo>
                  <a:lnTo>
                    <a:pt x="221" y="724"/>
                  </a:lnTo>
                  <a:lnTo>
                    <a:pt x="0" y="361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C7D22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271463" y="2852738"/>
              <a:ext cx="1306513" cy="1149350"/>
            </a:xfrm>
            <a:custGeom>
              <a:avLst/>
              <a:gdLst>
                <a:gd name="T0" fmla="*/ 0 w 823"/>
                <a:gd name="T1" fmla="*/ 0 h 724"/>
                <a:gd name="T2" fmla="*/ 223 w 823"/>
                <a:gd name="T3" fmla="*/ 0 h 724"/>
                <a:gd name="T4" fmla="*/ 601 w 823"/>
                <a:gd name="T5" fmla="*/ 438 h 724"/>
                <a:gd name="T6" fmla="*/ 601 w 823"/>
                <a:gd name="T7" fmla="*/ 0 h 724"/>
                <a:gd name="T8" fmla="*/ 601 w 823"/>
                <a:gd name="T9" fmla="*/ 0 h 724"/>
                <a:gd name="T10" fmla="*/ 823 w 823"/>
                <a:gd name="T11" fmla="*/ 361 h 724"/>
                <a:gd name="T12" fmla="*/ 601 w 823"/>
                <a:gd name="T13" fmla="*/ 724 h 724"/>
                <a:gd name="T14" fmla="*/ 223 w 823"/>
                <a:gd name="T15" fmla="*/ 287 h 724"/>
                <a:gd name="T16" fmla="*/ 223 w 823"/>
                <a:gd name="T17" fmla="*/ 724 h 724"/>
                <a:gd name="T18" fmla="*/ 0 w 823"/>
                <a:gd name="T19" fmla="*/ 724 h 724"/>
                <a:gd name="T20" fmla="*/ 0 w 823"/>
                <a:gd name="T2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3" h="724">
                  <a:moveTo>
                    <a:pt x="0" y="0"/>
                  </a:moveTo>
                  <a:lnTo>
                    <a:pt x="223" y="0"/>
                  </a:lnTo>
                  <a:lnTo>
                    <a:pt x="601" y="438"/>
                  </a:lnTo>
                  <a:lnTo>
                    <a:pt x="601" y="0"/>
                  </a:lnTo>
                  <a:lnTo>
                    <a:pt x="601" y="0"/>
                  </a:lnTo>
                  <a:lnTo>
                    <a:pt x="823" y="361"/>
                  </a:lnTo>
                  <a:lnTo>
                    <a:pt x="601" y="724"/>
                  </a:lnTo>
                  <a:lnTo>
                    <a:pt x="223" y="287"/>
                  </a:lnTo>
                  <a:lnTo>
                    <a:pt x="223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976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</p:sldLayoutIdLst>
  <p:transition>
    <p:fade/>
  </p:transition>
  <p:hf hdr="0" ftr="0" dt="0"/>
  <p:txStyles>
    <p:titleStyle>
      <a:lvl1pPr algn="l" rtl="0" fontAlgn="base">
        <a:lnSpc>
          <a:spcPct val="100000"/>
        </a:lnSpc>
        <a:spcBef>
          <a:spcPct val="0"/>
        </a:spcBef>
        <a:spcAft>
          <a:spcPct val="0"/>
        </a:spcAft>
        <a:defRPr lang="en-US" sz="2600" b="1" kern="1200" dirty="0" smtClean="0">
          <a:solidFill>
            <a:schemeClr val="tx2">
              <a:lumMod val="75000"/>
            </a:schemeClr>
          </a:solidFill>
          <a:effectLst/>
          <a:latin typeface="Arial" charset="0"/>
          <a:ea typeface="+mn-ea"/>
          <a:cs typeface="+mn-cs"/>
        </a:defRPr>
      </a:lvl1pPr>
      <a:lvl2pPr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2pPr>
      <a:lvl3pPr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3pPr>
      <a:lvl4pPr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4pPr>
      <a:lvl5pPr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5pPr>
      <a:lvl6pPr marL="342900"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6pPr>
      <a:lvl7pPr marL="685800"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7pPr>
      <a:lvl8pPr marL="1028700"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8pPr>
      <a:lvl9pPr marL="1371600" algn="r" rtl="0" fontAlgn="base">
        <a:lnSpc>
          <a:spcPct val="85000"/>
        </a:lnSpc>
        <a:spcBef>
          <a:spcPct val="0"/>
        </a:spcBef>
        <a:spcAft>
          <a:spcPct val="0"/>
        </a:spcAft>
        <a:defRPr sz="1650" b="1">
          <a:solidFill>
            <a:schemeClr val="tx1"/>
          </a:solidFill>
          <a:latin typeface="Arial" charset="0"/>
        </a:defRPr>
      </a:lvl9pPr>
    </p:titleStyle>
    <p:bodyStyle>
      <a:lvl1pPr marL="175022" indent="-175022" algn="l" rtl="0" fontAlgn="base">
        <a:lnSpc>
          <a:spcPct val="100000"/>
        </a:lnSpc>
        <a:spcBef>
          <a:spcPts val="431"/>
        </a:spcBef>
        <a:spcAft>
          <a:spcPts val="56"/>
        </a:spcAft>
        <a:buClr>
          <a:schemeClr val="tx1">
            <a:lumMod val="85000"/>
            <a:lumOff val="15000"/>
          </a:schemeClr>
        </a:buClr>
        <a:buSzPct val="80000"/>
        <a:buFont typeface="Arial" pitchFamily="34" charset="0"/>
        <a:buChar char="•"/>
        <a:defRPr sz="2200" b="0">
          <a:solidFill>
            <a:srgbClr val="000000"/>
          </a:solidFill>
          <a:latin typeface="+mn-lt"/>
          <a:ea typeface="+mn-ea"/>
          <a:cs typeface="+mn-cs"/>
        </a:defRPr>
      </a:lvl1pPr>
      <a:lvl2pPr marL="301229" indent="-126206" algn="l" rtl="0" fontAlgn="base">
        <a:lnSpc>
          <a:spcPct val="100000"/>
        </a:lnSpc>
        <a:spcBef>
          <a:spcPts val="431"/>
        </a:spcBef>
        <a:spcAft>
          <a:spcPts val="56"/>
        </a:spcAft>
        <a:buClr>
          <a:schemeClr val="tx1"/>
        </a:buClr>
        <a:buSzPct val="80000"/>
        <a:buFont typeface="Arial" pitchFamily="34" charset="0"/>
        <a:buChar char="−"/>
        <a:defRPr sz="2000">
          <a:solidFill>
            <a:srgbClr val="000000"/>
          </a:solidFill>
          <a:latin typeface="+mn-lt"/>
        </a:defRPr>
      </a:lvl2pPr>
      <a:lvl3pPr marL="427435" indent="-126206" algn="l" rtl="0" fontAlgn="base">
        <a:lnSpc>
          <a:spcPct val="100000"/>
        </a:lnSpc>
        <a:spcBef>
          <a:spcPts val="431"/>
        </a:spcBef>
        <a:spcAft>
          <a:spcPts val="56"/>
        </a:spcAft>
        <a:buClr>
          <a:schemeClr val="tx1"/>
        </a:buClr>
        <a:buSzPct val="80000"/>
        <a:buFont typeface="Wingdings" pitchFamily="2" charset="2"/>
        <a:buChar char="§"/>
        <a:defRPr sz="1800">
          <a:solidFill>
            <a:srgbClr val="000000"/>
          </a:solidFill>
          <a:latin typeface="+mn-lt"/>
        </a:defRPr>
      </a:lvl3pPr>
      <a:lvl4pPr marL="559594" indent="-132160" algn="l" rtl="0" fontAlgn="base">
        <a:lnSpc>
          <a:spcPct val="100000"/>
        </a:lnSpc>
        <a:spcBef>
          <a:spcPts val="431"/>
        </a:spcBef>
        <a:spcAft>
          <a:spcPts val="56"/>
        </a:spcAft>
        <a:buClr>
          <a:schemeClr val="tx1"/>
        </a:buClr>
        <a:buSzPct val="80000"/>
        <a:buFont typeface="Arial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727472" indent="-167879" algn="l" rtl="0" fontAlgn="base">
        <a:lnSpc>
          <a:spcPct val="100000"/>
        </a:lnSpc>
        <a:spcBef>
          <a:spcPts val="431"/>
        </a:spcBef>
        <a:spcAft>
          <a:spcPts val="56"/>
        </a:spcAft>
        <a:buClr>
          <a:schemeClr val="tx1"/>
        </a:buClr>
        <a:buSzPct val="70000"/>
        <a:buFont typeface="Arial" pitchFamily="34" charset="0"/>
        <a:buChar char="−"/>
        <a:defRPr sz="1400">
          <a:solidFill>
            <a:srgbClr val="000000"/>
          </a:solidFill>
          <a:latin typeface="+mn-lt"/>
        </a:defRPr>
      </a:lvl5pPr>
      <a:lvl6pPr marL="1672829" indent="-117872" algn="l" rtl="0" fontAlgn="base">
        <a:spcBef>
          <a:spcPct val="20000"/>
        </a:spcBef>
        <a:spcAft>
          <a:spcPct val="3000"/>
        </a:spcAft>
        <a:buClr>
          <a:schemeClr val="tx1"/>
        </a:buClr>
        <a:buSzPct val="70000"/>
        <a:buFont typeface="Arial" charset="0"/>
        <a:buChar char="►"/>
        <a:defRPr sz="1050">
          <a:solidFill>
            <a:srgbClr val="000000"/>
          </a:solidFill>
          <a:latin typeface="+mn-lt"/>
        </a:defRPr>
      </a:lvl6pPr>
      <a:lvl7pPr marL="2015729" indent="-117872" algn="l" rtl="0" fontAlgn="base">
        <a:spcBef>
          <a:spcPct val="20000"/>
        </a:spcBef>
        <a:spcAft>
          <a:spcPct val="3000"/>
        </a:spcAft>
        <a:buClr>
          <a:schemeClr val="tx1"/>
        </a:buClr>
        <a:buSzPct val="70000"/>
        <a:buFont typeface="Arial" charset="0"/>
        <a:buChar char="►"/>
        <a:defRPr sz="1050">
          <a:solidFill>
            <a:srgbClr val="000000"/>
          </a:solidFill>
          <a:latin typeface="+mn-lt"/>
        </a:defRPr>
      </a:lvl7pPr>
      <a:lvl8pPr marL="2358629" indent="-117872" algn="l" rtl="0" fontAlgn="base">
        <a:spcBef>
          <a:spcPct val="20000"/>
        </a:spcBef>
        <a:spcAft>
          <a:spcPct val="3000"/>
        </a:spcAft>
        <a:buClr>
          <a:schemeClr val="tx1"/>
        </a:buClr>
        <a:buSzPct val="70000"/>
        <a:buFont typeface="Arial" charset="0"/>
        <a:buChar char="►"/>
        <a:defRPr sz="1050">
          <a:solidFill>
            <a:srgbClr val="000000"/>
          </a:solidFill>
          <a:latin typeface="+mn-lt"/>
        </a:defRPr>
      </a:lvl8pPr>
      <a:lvl9pPr marL="2701529" indent="-117872" algn="l" rtl="0" fontAlgn="base">
        <a:spcBef>
          <a:spcPct val="20000"/>
        </a:spcBef>
        <a:spcAft>
          <a:spcPct val="3000"/>
        </a:spcAft>
        <a:buClr>
          <a:schemeClr val="tx1"/>
        </a:buClr>
        <a:buSzPct val="70000"/>
        <a:buFont typeface="Arial" charset="0"/>
        <a:buChar char="►"/>
        <a:defRPr sz="105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5187" y="339727"/>
            <a:ext cx="1139105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893" y="1455916"/>
            <a:ext cx="11357187" cy="4275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2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581" y="6346224"/>
            <a:ext cx="412419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l">
              <a:defRPr sz="1333" b="1">
                <a:solidFill>
                  <a:schemeClr val="tx1"/>
                </a:solidFill>
              </a:defRPr>
            </a:lvl1pPr>
          </a:lstStyle>
          <a:p>
            <a:pPr defTabSz="1219170"/>
            <a:fld id="{51AADA5A-16D3-48CF-BD69-C24CEE5A3803}" type="slidenum">
              <a:rPr lang="en-GB" smtClean="0">
                <a:solidFill>
                  <a:srgbClr val="000000"/>
                </a:solidFill>
              </a:rPr>
              <a:pPr defTabSz="1219170"/>
              <a:t>‹#›</a:t>
            </a:fld>
            <a:r>
              <a:rPr lang="en-GB">
                <a:solidFill>
                  <a:srgbClr val="000000"/>
                </a:solidFill>
              </a:rPr>
              <a:t>.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8564" y="6347191"/>
            <a:ext cx="1680000" cy="151200"/>
          </a:xfrm>
          <a:prstGeom prst="rect">
            <a:avLst/>
          </a:prstGeom>
        </p:spPr>
        <p:txBody>
          <a:bodyPr vert="horz" wrap="none" lIns="36000" tIns="0" rIns="0" bIns="0" rtlCol="0" anchor="ctr" anchorCtr="0"/>
          <a:lstStyle>
            <a:lvl1pPr algn="l">
              <a:defRPr lang="en-GB" sz="1200" smtClean="0">
                <a:solidFill>
                  <a:srgbClr val="000000"/>
                </a:solidFill>
              </a:defRPr>
            </a:lvl1pPr>
          </a:lstStyle>
          <a:p>
            <a:pPr defTabSz="1219170"/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238"/>
          <a:stretch/>
        </p:blipFill>
        <p:spPr>
          <a:xfrm>
            <a:off x="9690584" y="5836800"/>
            <a:ext cx="2501416" cy="854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95600" y="6145810"/>
            <a:ext cx="2016224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1219170"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SMC Leadership Call – December 2015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681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6" r:id="rId2"/>
  </p:sldLayoutIdLst>
  <p:transition/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5pPr>
      <a:lvl6pPr marL="519488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6pPr>
      <a:lvl7pPr marL="1038977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7pPr>
      <a:lvl8pPr marL="1558465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8pPr>
      <a:lvl9pPr marL="2077952" algn="l" rtl="0" eaLnBrk="1" fontAlgn="base" hangingPunct="1">
        <a:spcBef>
          <a:spcPct val="0"/>
        </a:spcBef>
        <a:spcAft>
          <a:spcPct val="0"/>
        </a:spcAft>
        <a:defRPr sz="3467" b="1">
          <a:solidFill>
            <a:srgbClr val="000000"/>
          </a:solidFill>
          <a:latin typeface="Arial" charset="0"/>
        </a:defRPr>
      </a:lvl9pPr>
    </p:titleStyle>
    <p:bodyStyle>
      <a:lvl1pPr marL="380990" indent="-380990" algn="l" rtl="0" eaLnBrk="1" fontAlgn="base" hangingPunct="1">
        <a:lnSpc>
          <a:spcPct val="105000"/>
        </a:lnSpc>
        <a:spcBef>
          <a:spcPct val="45000"/>
        </a:spcBef>
        <a:spcAft>
          <a:spcPct val="0"/>
        </a:spcAft>
        <a:buClr>
          <a:schemeClr val="tx1"/>
        </a:buClr>
        <a:buSzPct val="75000"/>
        <a:buFont typeface="Arial" panose="020B0604020202020204" pitchFamily="34" charset="0"/>
        <a:buChar char="•"/>
        <a:defRPr sz="2667">
          <a:solidFill>
            <a:srgbClr val="000000"/>
          </a:solidFill>
          <a:latin typeface="+mn-lt"/>
          <a:ea typeface="+mn-ea"/>
          <a:cs typeface="+mn-cs"/>
        </a:defRPr>
      </a:lvl1pPr>
      <a:lvl2pPr marL="900479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rgbClr val="000000"/>
          </a:solidFill>
          <a:latin typeface="+mn-lt"/>
        </a:defRPr>
      </a:lvl2pPr>
      <a:lvl3pPr marL="1419966" indent="-38099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67">
          <a:solidFill>
            <a:srgbClr val="000000"/>
          </a:solidFill>
          <a:latin typeface="+mn-lt"/>
        </a:defRPr>
      </a:lvl3pPr>
      <a:lvl4pPr marL="1787058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4pPr>
      <a:lvl5pPr marL="2306546" indent="-22859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</a:defRPr>
      </a:lvl5pPr>
      <a:lvl6pPr marL="2886045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6pPr>
      <a:lvl7pPr marL="3405534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7pPr>
      <a:lvl8pPr marL="3925022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8pPr>
      <a:lvl9pPr marL="4444510" indent="-28860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65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78075" y="2205893"/>
            <a:ext cx="223779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10/3/2016 9:20 AM Central Europe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972737" y="4423873"/>
            <a:ext cx="24846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12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9" y="238539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2622068" y="656850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l"/>
            <a:fld id="{42C328C1-A84F-4A39-A664-DBA00541A8C6}" type="slidenum">
              <a:rPr lang="x-none" sz="1000" baseline="0" smtClean="0">
                <a:solidFill>
                  <a:srgbClr val="7F7F7F"/>
                </a:solidFill>
                <a:latin typeface="+mn-lt"/>
              </a:rPr>
              <a:pPr algn="l"/>
              <a:t>‹#›</a:t>
            </a:fld>
            <a:endParaRPr lang="x-none" sz="1000" baseline="0" dirty="0">
              <a:solidFill>
                <a:srgbClr val="7F7F7F"/>
              </a:solidFill>
              <a:latin typeface="+mn-lt"/>
            </a:endParaRPr>
          </a:p>
        </p:txBody>
      </p:sp>
      <p:grpSp>
        <p:nvGrpSpPr>
          <p:cNvPr id="105" name="Group 104"/>
          <p:cNvGrpSpPr/>
          <p:nvPr userDrawn="1"/>
        </p:nvGrpSpPr>
        <p:grpSpPr bwMode="ltGray">
          <a:xfrm>
            <a:off x="10986674" y="6522516"/>
            <a:ext cx="972069" cy="262604"/>
            <a:chOff x="271463" y="2852738"/>
            <a:chExt cx="3190876" cy="1149350"/>
          </a:xfrm>
        </p:grpSpPr>
        <p:sp>
          <p:nvSpPr>
            <p:cNvPr id="106" name="Freeform 6"/>
            <p:cNvSpPr>
              <a:spLocks/>
            </p:cNvSpPr>
            <p:nvPr/>
          </p:nvSpPr>
          <p:spPr bwMode="ltGray">
            <a:xfrm>
              <a:off x="1577976" y="2852738"/>
              <a:ext cx="609600" cy="1149350"/>
            </a:xfrm>
            <a:custGeom>
              <a:avLst/>
              <a:gdLst>
                <a:gd name="T0" fmla="*/ 0 w 384"/>
                <a:gd name="T1" fmla="*/ 0 h 724"/>
                <a:gd name="T2" fmla="*/ 41 w 384"/>
                <a:gd name="T3" fmla="*/ 0 h 724"/>
                <a:gd name="T4" fmla="*/ 192 w 384"/>
                <a:gd name="T5" fmla="*/ 241 h 724"/>
                <a:gd name="T6" fmla="*/ 341 w 384"/>
                <a:gd name="T7" fmla="*/ 0 h 724"/>
                <a:gd name="T8" fmla="*/ 382 w 384"/>
                <a:gd name="T9" fmla="*/ 0 h 724"/>
                <a:gd name="T10" fmla="*/ 382 w 384"/>
                <a:gd name="T11" fmla="*/ 723 h 724"/>
                <a:gd name="T12" fmla="*/ 384 w 384"/>
                <a:gd name="T13" fmla="*/ 724 h 724"/>
                <a:gd name="T14" fmla="*/ 341 w 384"/>
                <a:gd name="T15" fmla="*/ 724 h 724"/>
                <a:gd name="T16" fmla="*/ 192 w 384"/>
                <a:gd name="T17" fmla="*/ 483 h 724"/>
                <a:gd name="T18" fmla="*/ 41 w 384"/>
                <a:gd name="T19" fmla="*/ 724 h 724"/>
                <a:gd name="T20" fmla="*/ 0 w 384"/>
                <a:gd name="T21" fmla="*/ 724 h 724"/>
                <a:gd name="T22" fmla="*/ 0 w 384"/>
                <a:gd name="T2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724">
                  <a:moveTo>
                    <a:pt x="0" y="0"/>
                  </a:moveTo>
                  <a:lnTo>
                    <a:pt x="41" y="0"/>
                  </a:lnTo>
                  <a:lnTo>
                    <a:pt x="192" y="241"/>
                  </a:lnTo>
                  <a:lnTo>
                    <a:pt x="341" y="0"/>
                  </a:lnTo>
                  <a:lnTo>
                    <a:pt x="382" y="0"/>
                  </a:lnTo>
                  <a:lnTo>
                    <a:pt x="382" y="723"/>
                  </a:lnTo>
                  <a:lnTo>
                    <a:pt x="384" y="724"/>
                  </a:lnTo>
                  <a:lnTo>
                    <a:pt x="341" y="724"/>
                  </a:lnTo>
                  <a:lnTo>
                    <a:pt x="192" y="483"/>
                  </a:lnTo>
                  <a:lnTo>
                    <a:pt x="41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B2D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7"/>
            <p:cNvSpPr>
              <a:spLocks/>
            </p:cNvSpPr>
            <p:nvPr/>
          </p:nvSpPr>
          <p:spPr bwMode="ltGray">
            <a:xfrm>
              <a:off x="1225551" y="2852738"/>
              <a:ext cx="352425" cy="1149350"/>
            </a:xfrm>
            <a:custGeom>
              <a:avLst/>
              <a:gdLst>
                <a:gd name="T0" fmla="*/ 0 w 222"/>
                <a:gd name="T1" fmla="*/ 0 h 724"/>
                <a:gd name="T2" fmla="*/ 222 w 222"/>
                <a:gd name="T3" fmla="*/ 0 h 724"/>
                <a:gd name="T4" fmla="*/ 222 w 222"/>
                <a:gd name="T5" fmla="*/ 724 h 724"/>
                <a:gd name="T6" fmla="*/ 0 w 222"/>
                <a:gd name="T7" fmla="*/ 724 h 724"/>
                <a:gd name="T8" fmla="*/ 222 w 222"/>
                <a:gd name="T9" fmla="*/ 361 h 724"/>
                <a:gd name="T10" fmla="*/ 0 w 222"/>
                <a:gd name="T1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724">
                  <a:moveTo>
                    <a:pt x="0" y="0"/>
                  </a:moveTo>
                  <a:lnTo>
                    <a:pt x="222" y="0"/>
                  </a:lnTo>
                  <a:lnTo>
                    <a:pt x="222" y="724"/>
                  </a:lnTo>
                  <a:lnTo>
                    <a:pt x="0" y="724"/>
                  </a:lnTo>
                  <a:lnTo>
                    <a:pt x="222" y="3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843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 8"/>
            <p:cNvSpPr>
              <a:spLocks/>
            </p:cNvSpPr>
            <p:nvPr/>
          </p:nvSpPr>
          <p:spPr bwMode="ltGray">
            <a:xfrm>
              <a:off x="2184401" y="2852738"/>
              <a:ext cx="354013" cy="1149350"/>
            </a:xfrm>
            <a:custGeom>
              <a:avLst/>
              <a:gdLst>
                <a:gd name="T0" fmla="*/ 0 w 223"/>
                <a:gd name="T1" fmla="*/ 0 h 724"/>
                <a:gd name="T2" fmla="*/ 223 w 223"/>
                <a:gd name="T3" fmla="*/ 0 h 724"/>
                <a:gd name="T4" fmla="*/ 2 w 223"/>
                <a:gd name="T5" fmla="*/ 361 h 724"/>
                <a:gd name="T6" fmla="*/ 223 w 223"/>
                <a:gd name="T7" fmla="*/ 724 h 724"/>
                <a:gd name="T8" fmla="*/ 2 w 223"/>
                <a:gd name="T9" fmla="*/ 724 h 724"/>
                <a:gd name="T10" fmla="*/ 0 w 223"/>
                <a:gd name="T11" fmla="*/ 723 h 724"/>
                <a:gd name="T12" fmla="*/ 0 w 223"/>
                <a:gd name="T1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724">
                  <a:moveTo>
                    <a:pt x="0" y="0"/>
                  </a:moveTo>
                  <a:lnTo>
                    <a:pt x="223" y="0"/>
                  </a:lnTo>
                  <a:lnTo>
                    <a:pt x="2" y="361"/>
                  </a:lnTo>
                  <a:lnTo>
                    <a:pt x="223" y="724"/>
                  </a:lnTo>
                  <a:lnTo>
                    <a:pt x="2" y="724"/>
                  </a:lnTo>
                  <a:lnTo>
                    <a:pt x="0" y="7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983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Freeform 9"/>
            <p:cNvSpPr>
              <a:spLocks noEditPoints="1"/>
            </p:cNvSpPr>
            <p:nvPr/>
          </p:nvSpPr>
          <p:spPr bwMode="ltGray">
            <a:xfrm>
              <a:off x="2187576" y="2852738"/>
              <a:ext cx="1274763" cy="1149350"/>
            </a:xfrm>
            <a:custGeom>
              <a:avLst/>
              <a:gdLst>
                <a:gd name="T0" fmla="*/ 221 w 803"/>
                <a:gd name="T1" fmla="*/ 179 h 724"/>
                <a:gd name="T2" fmla="*/ 221 w 803"/>
                <a:gd name="T3" fmla="*/ 383 h 724"/>
                <a:gd name="T4" fmla="*/ 523 w 803"/>
                <a:gd name="T5" fmla="*/ 383 h 724"/>
                <a:gd name="T6" fmla="*/ 543 w 803"/>
                <a:gd name="T7" fmla="*/ 382 h 724"/>
                <a:gd name="T8" fmla="*/ 560 w 803"/>
                <a:gd name="T9" fmla="*/ 374 h 724"/>
                <a:gd name="T10" fmla="*/ 573 w 803"/>
                <a:gd name="T11" fmla="*/ 361 h 724"/>
                <a:gd name="T12" fmla="*/ 583 w 803"/>
                <a:gd name="T13" fmla="*/ 346 h 724"/>
                <a:gd name="T14" fmla="*/ 589 w 803"/>
                <a:gd name="T15" fmla="*/ 329 h 724"/>
                <a:gd name="T16" fmla="*/ 594 w 803"/>
                <a:gd name="T17" fmla="*/ 310 h 724"/>
                <a:gd name="T18" fmla="*/ 596 w 803"/>
                <a:gd name="T19" fmla="*/ 292 h 724"/>
                <a:gd name="T20" fmla="*/ 596 w 803"/>
                <a:gd name="T21" fmla="*/ 256 h 724"/>
                <a:gd name="T22" fmla="*/ 592 w 803"/>
                <a:gd name="T23" fmla="*/ 233 h 724"/>
                <a:gd name="T24" fmla="*/ 586 w 803"/>
                <a:gd name="T25" fmla="*/ 215 h 724"/>
                <a:gd name="T26" fmla="*/ 574 w 803"/>
                <a:gd name="T27" fmla="*/ 200 h 724"/>
                <a:gd name="T28" fmla="*/ 558 w 803"/>
                <a:gd name="T29" fmla="*/ 188 h 724"/>
                <a:gd name="T30" fmla="*/ 533 w 803"/>
                <a:gd name="T31" fmla="*/ 182 h 724"/>
                <a:gd name="T32" fmla="*/ 504 w 803"/>
                <a:gd name="T33" fmla="*/ 179 h 724"/>
                <a:gd name="T34" fmla="*/ 221 w 803"/>
                <a:gd name="T35" fmla="*/ 179 h 724"/>
                <a:gd name="T36" fmla="*/ 221 w 803"/>
                <a:gd name="T37" fmla="*/ 0 h 724"/>
                <a:gd name="T38" fmla="*/ 540 w 803"/>
                <a:gd name="T39" fmla="*/ 0 h 724"/>
                <a:gd name="T40" fmla="*/ 589 w 803"/>
                <a:gd name="T41" fmla="*/ 2 h 724"/>
                <a:gd name="T42" fmla="*/ 633 w 803"/>
                <a:gd name="T43" fmla="*/ 8 h 724"/>
                <a:gd name="T44" fmla="*/ 670 w 803"/>
                <a:gd name="T45" fmla="*/ 18 h 724"/>
                <a:gd name="T46" fmla="*/ 702 w 803"/>
                <a:gd name="T47" fmla="*/ 33 h 724"/>
                <a:gd name="T48" fmla="*/ 729 w 803"/>
                <a:gd name="T49" fmla="*/ 49 h 724"/>
                <a:gd name="T50" fmla="*/ 750 w 803"/>
                <a:gd name="T51" fmla="*/ 70 h 724"/>
                <a:gd name="T52" fmla="*/ 768 w 803"/>
                <a:gd name="T53" fmla="*/ 93 h 724"/>
                <a:gd name="T54" fmla="*/ 781 w 803"/>
                <a:gd name="T55" fmla="*/ 120 h 724"/>
                <a:gd name="T56" fmla="*/ 791 w 803"/>
                <a:gd name="T57" fmla="*/ 149 h 724"/>
                <a:gd name="T58" fmla="*/ 798 w 803"/>
                <a:gd name="T59" fmla="*/ 180 h 724"/>
                <a:gd name="T60" fmla="*/ 803 w 803"/>
                <a:gd name="T61" fmla="*/ 213 h 724"/>
                <a:gd name="T62" fmla="*/ 803 w 803"/>
                <a:gd name="T63" fmla="*/ 247 h 724"/>
                <a:gd name="T64" fmla="*/ 803 w 803"/>
                <a:gd name="T65" fmla="*/ 333 h 724"/>
                <a:gd name="T66" fmla="*/ 803 w 803"/>
                <a:gd name="T67" fmla="*/ 361 h 724"/>
                <a:gd name="T68" fmla="*/ 798 w 803"/>
                <a:gd name="T69" fmla="*/ 392 h 724"/>
                <a:gd name="T70" fmla="*/ 791 w 803"/>
                <a:gd name="T71" fmla="*/ 421 h 724"/>
                <a:gd name="T72" fmla="*/ 781 w 803"/>
                <a:gd name="T73" fmla="*/ 449 h 724"/>
                <a:gd name="T74" fmla="*/ 768 w 803"/>
                <a:gd name="T75" fmla="*/ 475 h 724"/>
                <a:gd name="T76" fmla="*/ 750 w 803"/>
                <a:gd name="T77" fmla="*/ 500 h 724"/>
                <a:gd name="T78" fmla="*/ 729 w 803"/>
                <a:gd name="T79" fmla="*/ 521 h 724"/>
                <a:gd name="T80" fmla="*/ 704 w 803"/>
                <a:gd name="T81" fmla="*/ 539 h 724"/>
                <a:gd name="T82" fmla="*/ 673 w 803"/>
                <a:gd name="T83" fmla="*/ 552 h 724"/>
                <a:gd name="T84" fmla="*/ 638 w 803"/>
                <a:gd name="T85" fmla="*/ 560 h 724"/>
                <a:gd name="T86" fmla="*/ 597 w 803"/>
                <a:gd name="T87" fmla="*/ 564 h 724"/>
                <a:gd name="T88" fmla="*/ 221 w 803"/>
                <a:gd name="T89" fmla="*/ 564 h 724"/>
                <a:gd name="T90" fmla="*/ 221 w 803"/>
                <a:gd name="T91" fmla="*/ 724 h 724"/>
                <a:gd name="T92" fmla="*/ 221 w 803"/>
                <a:gd name="T93" fmla="*/ 724 h 724"/>
                <a:gd name="T94" fmla="*/ 0 w 803"/>
                <a:gd name="T95" fmla="*/ 361 h 724"/>
                <a:gd name="T96" fmla="*/ 221 w 803"/>
                <a:gd name="T97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3" h="724">
                  <a:moveTo>
                    <a:pt x="221" y="179"/>
                  </a:moveTo>
                  <a:lnTo>
                    <a:pt x="221" y="383"/>
                  </a:lnTo>
                  <a:lnTo>
                    <a:pt x="523" y="383"/>
                  </a:lnTo>
                  <a:lnTo>
                    <a:pt x="543" y="382"/>
                  </a:lnTo>
                  <a:lnTo>
                    <a:pt x="560" y="374"/>
                  </a:lnTo>
                  <a:lnTo>
                    <a:pt x="573" y="361"/>
                  </a:lnTo>
                  <a:lnTo>
                    <a:pt x="583" y="346"/>
                  </a:lnTo>
                  <a:lnTo>
                    <a:pt x="589" y="329"/>
                  </a:lnTo>
                  <a:lnTo>
                    <a:pt x="594" y="310"/>
                  </a:lnTo>
                  <a:lnTo>
                    <a:pt x="596" y="292"/>
                  </a:lnTo>
                  <a:lnTo>
                    <a:pt x="596" y="256"/>
                  </a:lnTo>
                  <a:lnTo>
                    <a:pt x="592" y="233"/>
                  </a:lnTo>
                  <a:lnTo>
                    <a:pt x="586" y="215"/>
                  </a:lnTo>
                  <a:lnTo>
                    <a:pt x="574" y="200"/>
                  </a:lnTo>
                  <a:lnTo>
                    <a:pt x="558" y="188"/>
                  </a:lnTo>
                  <a:lnTo>
                    <a:pt x="533" y="182"/>
                  </a:lnTo>
                  <a:lnTo>
                    <a:pt x="504" y="179"/>
                  </a:lnTo>
                  <a:lnTo>
                    <a:pt x="221" y="179"/>
                  </a:lnTo>
                  <a:close/>
                  <a:moveTo>
                    <a:pt x="221" y="0"/>
                  </a:moveTo>
                  <a:lnTo>
                    <a:pt x="540" y="0"/>
                  </a:lnTo>
                  <a:lnTo>
                    <a:pt x="589" y="2"/>
                  </a:lnTo>
                  <a:lnTo>
                    <a:pt x="633" y="8"/>
                  </a:lnTo>
                  <a:lnTo>
                    <a:pt x="670" y="18"/>
                  </a:lnTo>
                  <a:lnTo>
                    <a:pt x="702" y="33"/>
                  </a:lnTo>
                  <a:lnTo>
                    <a:pt x="729" y="49"/>
                  </a:lnTo>
                  <a:lnTo>
                    <a:pt x="750" y="70"/>
                  </a:lnTo>
                  <a:lnTo>
                    <a:pt x="768" y="93"/>
                  </a:lnTo>
                  <a:lnTo>
                    <a:pt x="781" y="120"/>
                  </a:lnTo>
                  <a:lnTo>
                    <a:pt x="791" y="149"/>
                  </a:lnTo>
                  <a:lnTo>
                    <a:pt x="798" y="180"/>
                  </a:lnTo>
                  <a:lnTo>
                    <a:pt x="803" y="213"/>
                  </a:lnTo>
                  <a:lnTo>
                    <a:pt x="803" y="247"/>
                  </a:lnTo>
                  <a:lnTo>
                    <a:pt x="803" y="333"/>
                  </a:lnTo>
                  <a:lnTo>
                    <a:pt x="803" y="361"/>
                  </a:lnTo>
                  <a:lnTo>
                    <a:pt x="798" y="392"/>
                  </a:lnTo>
                  <a:lnTo>
                    <a:pt x="791" y="421"/>
                  </a:lnTo>
                  <a:lnTo>
                    <a:pt x="781" y="449"/>
                  </a:lnTo>
                  <a:lnTo>
                    <a:pt x="768" y="475"/>
                  </a:lnTo>
                  <a:lnTo>
                    <a:pt x="750" y="500"/>
                  </a:lnTo>
                  <a:lnTo>
                    <a:pt x="729" y="521"/>
                  </a:lnTo>
                  <a:lnTo>
                    <a:pt x="704" y="539"/>
                  </a:lnTo>
                  <a:lnTo>
                    <a:pt x="673" y="552"/>
                  </a:lnTo>
                  <a:lnTo>
                    <a:pt x="638" y="560"/>
                  </a:lnTo>
                  <a:lnTo>
                    <a:pt x="597" y="564"/>
                  </a:lnTo>
                  <a:lnTo>
                    <a:pt x="221" y="564"/>
                  </a:lnTo>
                  <a:lnTo>
                    <a:pt x="221" y="724"/>
                  </a:lnTo>
                  <a:lnTo>
                    <a:pt x="221" y="724"/>
                  </a:lnTo>
                  <a:lnTo>
                    <a:pt x="0" y="361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C7D22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Freeform 10"/>
            <p:cNvSpPr>
              <a:spLocks/>
            </p:cNvSpPr>
            <p:nvPr/>
          </p:nvSpPr>
          <p:spPr bwMode="ltGray">
            <a:xfrm>
              <a:off x="271463" y="2852738"/>
              <a:ext cx="1306513" cy="1149350"/>
            </a:xfrm>
            <a:custGeom>
              <a:avLst/>
              <a:gdLst>
                <a:gd name="T0" fmla="*/ 0 w 823"/>
                <a:gd name="T1" fmla="*/ 0 h 724"/>
                <a:gd name="T2" fmla="*/ 223 w 823"/>
                <a:gd name="T3" fmla="*/ 0 h 724"/>
                <a:gd name="T4" fmla="*/ 601 w 823"/>
                <a:gd name="T5" fmla="*/ 438 h 724"/>
                <a:gd name="T6" fmla="*/ 601 w 823"/>
                <a:gd name="T7" fmla="*/ 0 h 724"/>
                <a:gd name="T8" fmla="*/ 601 w 823"/>
                <a:gd name="T9" fmla="*/ 0 h 724"/>
                <a:gd name="T10" fmla="*/ 823 w 823"/>
                <a:gd name="T11" fmla="*/ 361 h 724"/>
                <a:gd name="T12" fmla="*/ 601 w 823"/>
                <a:gd name="T13" fmla="*/ 724 h 724"/>
                <a:gd name="T14" fmla="*/ 223 w 823"/>
                <a:gd name="T15" fmla="*/ 287 h 724"/>
                <a:gd name="T16" fmla="*/ 223 w 823"/>
                <a:gd name="T17" fmla="*/ 724 h 724"/>
                <a:gd name="T18" fmla="*/ 0 w 823"/>
                <a:gd name="T19" fmla="*/ 724 h 724"/>
                <a:gd name="T20" fmla="*/ 0 w 823"/>
                <a:gd name="T2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3" h="724">
                  <a:moveTo>
                    <a:pt x="0" y="0"/>
                  </a:moveTo>
                  <a:lnTo>
                    <a:pt x="223" y="0"/>
                  </a:lnTo>
                  <a:lnTo>
                    <a:pt x="601" y="438"/>
                  </a:lnTo>
                  <a:lnTo>
                    <a:pt x="601" y="0"/>
                  </a:lnTo>
                  <a:lnTo>
                    <a:pt x="601" y="0"/>
                  </a:lnTo>
                  <a:lnTo>
                    <a:pt x="823" y="361"/>
                  </a:lnTo>
                  <a:lnTo>
                    <a:pt x="601" y="724"/>
                  </a:lnTo>
                  <a:lnTo>
                    <a:pt x="223" y="287"/>
                  </a:lnTo>
                  <a:lnTo>
                    <a:pt x="223" y="724"/>
                  </a:lnTo>
                  <a:lnTo>
                    <a:pt x="0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D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1" name="TextBox 110"/>
          <p:cNvSpPr txBox="1"/>
          <p:nvPr userDrawn="1"/>
        </p:nvSpPr>
        <p:spPr bwMode="auto">
          <a:xfrm>
            <a:off x="774006" y="6568502"/>
            <a:ext cx="16222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all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rPr>
              <a:t>COMPANY CONFIDENTIAL</a:t>
            </a:r>
          </a:p>
        </p:txBody>
      </p:sp>
      <p:cxnSp>
        <p:nvCxnSpPr>
          <p:cNvPr id="112" name="Straight Connector 111"/>
          <p:cNvCxnSpPr/>
          <p:nvPr userDrawn="1"/>
        </p:nvCxnSpPr>
        <p:spPr bwMode="auto">
          <a:xfrm>
            <a:off x="2509156" y="6563531"/>
            <a:ext cx="0" cy="18288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66137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9" y="6081842"/>
            <a:ext cx="11725483" cy="359597"/>
            <a:chOff x="119063" y="6278944"/>
            <a:chExt cx="8618537" cy="35243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4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480558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47700" indent="-647700" defTabSz="913526">
                <a:tabLst/>
              </a:pPr>
              <a:r>
                <a:rPr lang="x-none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391711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4" name="LegendBoxes" hidden="1"/>
          <p:cNvGrpSpPr>
            <a:grpSpLocks/>
          </p:cNvGrpSpPr>
          <p:nvPr userDrawn="1"/>
        </p:nvGrpSpPr>
        <p:grpSpPr bwMode="auto">
          <a:xfrm>
            <a:off x="10940631" y="286626"/>
            <a:ext cx="848784" cy="996951"/>
            <a:chOff x="4936" y="176"/>
            <a:chExt cx="401" cy="628"/>
          </a:xfrm>
        </p:grpSpPr>
        <p:sp>
          <p:nvSpPr>
            <p:cNvPr id="6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3" name="LegendLines" hidden="1"/>
          <p:cNvGrpSpPr>
            <a:grpSpLocks/>
          </p:cNvGrpSpPr>
          <p:nvPr userDrawn="1"/>
        </p:nvGrpSpPr>
        <p:grpSpPr bwMode="auto">
          <a:xfrm>
            <a:off x="10529997" y="286626"/>
            <a:ext cx="1259418" cy="730251"/>
            <a:chOff x="4750" y="176"/>
            <a:chExt cx="595" cy="460"/>
          </a:xfrm>
        </p:grpSpPr>
        <p:sp>
          <p:nvSpPr>
            <p:cNvPr id="7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80" name="LegendMoons" hidden="1"/>
          <p:cNvGrpSpPr/>
          <p:nvPr userDrawn="1"/>
        </p:nvGrpSpPr>
        <p:grpSpPr bwMode="auto">
          <a:xfrm>
            <a:off x="10851499" y="286625"/>
            <a:ext cx="937321" cy="1306516"/>
            <a:chOff x="7875175" y="286625"/>
            <a:chExt cx="702991" cy="1306516"/>
          </a:xfrm>
        </p:grpSpPr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4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8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0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2" name="Arc 42" hidden="1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1" name="McKSticker" hidden="1"/>
          <p:cNvGrpSpPr/>
          <p:nvPr userDrawn="1"/>
        </p:nvGrpSpPr>
        <p:grpSpPr bwMode="auto">
          <a:xfrm>
            <a:off x="10891855" y="286625"/>
            <a:ext cx="1066894" cy="212366"/>
            <a:chOff x="7940605" y="285750"/>
            <a:chExt cx="800170" cy="212366"/>
          </a:xfrm>
        </p:grpSpPr>
        <p:sp>
          <p:nvSpPr>
            <p:cNvPr id="102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3" name="AutoShape 31"/>
            <p:cNvCxnSpPr>
              <a:cxnSpLocks noChangeShapeType="1"/>
              <a:stCxn id="102" idx="2"/>
              <a:endCxn id="102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" name="AutoShape 32"/>
            <p:cNvCxnSpPr>
              <a:cxnSpLocks noChangeShapeType="1"/>
              <a:stCxn id="102" idx="4"/>
              <a:endCxn id="102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3" name="Moon" hidden="1"/>
          <p:cNvGrpSpPr/>
          <p:nvPr userDrawn="1">
            <p:custDataLst>
              <p:tags r:id="rId5"/>
            </p:custDataLst>
          </p:nvPr>
        </p:nvGrpSpPr>
        <p:grpSpPr>
          <a:xfrm>
            <a:off x="1016000" y="1270000"/>
            <a:ext cx="338667" cy="254000"/>
            <a:chOff x="762000" y="1270000"/>
            <a:chExt cx="254000" cy="254000"/>
          </a:xfrm>
        </p:grpSpPr>
        <p:sp>
          <p:nvSpPr>
            <p:cNvPr id="114" name="Oval 113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15" name="Arc 114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656610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188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/>
          <p:nvPr userDrawn="1"/>
        </p:nvGrpSpPr>
        <p:grpSpPr>
          <a:xfrm>
            <a:off x="3364707" y="1282700"/>
            <a:ext cx="5462587" cy="3566691"/>
            <a:chOff x="3364707" y="1739900"/>
            <a:chExt cx="5462587" cy="3566691"/>
          </a:xfrm>
        </p:grpSpPr>
        <p:grpSp>
          <p:nvGrpSpPr>
            <p:cNvPr id="52" name="Group 51"/>
            <p:cNvGrpSpPr/>
            <p:nvPr userDrawn="1"/>
          </p:nvGrpSpPr>
          <p:grpSpPr>
            <a:xfrm>
              <a:off x="3751325" y="1739900"/>
              <a:ext cx="4689351" cy="1689100"/>
              <a:chOff x="271463" y="2852738"/>
              <a:chExt cx="3190876" cy="1149350"/>
            </a:xfrm>
          </p:grpSpPr>
          <p:sp>
            <p:nvSpPr>
              <p:cNvPr id="89" name="Freeform 6"/>
              <p:cNvSpPr>
                <a:spLocks/>
              </p:cNvSpPr>
              <p:nvPr/>
            </p:nvSpPr>
            <p:spPr bwMode="auto">
              <a:xfrm>
                <a:off x="1577976" y="2852738"/>
                <a:ext cx="609600" cy="1149350"/>
              </a:xfrm>
              <a:custGeom>
                <a:avLst/>
                <a:gdLst>
                  <a:gd name="T0" fmla="*/ 0 w 384"/>
                  <a:gd name="T1" fmla="*/ 0 h 724"/>
                  <a:gd name="T2" fmla="*/ 41 w 384"/>
                  <a:gd name="T3" fmla="*/ 0 h 724"/>
                  <a:gd name="T4" fmla="*/ 192 w 384"/>
                  <a:gd name="T5" fmla="*/ 241 h 724"/>
                  <a:gd name="T6" fmla="*/ 341 w 384"/>
                  <a:gd name="T7" fmla="*/ 0 h 724"/>
                  <a:gd name="T8" fmla="*/ 382 w 384"/>
                  <a:gd name="T9" fmla="*/ 0 h 724"/>
                  <a:gd name="T10" fmla="*/ 382 w 384"/>
                  <a:gd name="T11" fmla="*/ 723 h 724"/>
                  <a:gd name="T12" fmla="*/ 384 w 384"/>
                  <a:gd name="T13" fmla="*/ 724 h 724"/>
                  <a:gd name="T14" fmla="*/ 341 w 384"/>
                  <a:gd name="T15" fmla="*/ 724 h 724"/>
                  <a:gd name="T16" fmla="*/ 192 w 384"/>
                  <a:gd name="T17" fmla="*/ 483 h 724"/>
                  <a:gd name="T18" fmla="*/ 41 w 384"/>
                  <a:gd name="T19" fmla="*/ 724 h 724"/>
                  <a:gd name="T20" fmla="*/ 0 w 384"/>
                  <a:gd name="T21" fmla="*/ 724 h 724"/>
                  <a:gd name="T22" fmla="*/ 0 w 384"/>
                  <a:gd name="T23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4" h="724">
                    <a:moveTo>
                      <a:pt x="0" y="0"/>
                    </a:moveTo>
                    <a:lnTo>
                      <a:pt x="41" y="0"/>
                    </a:lnTo>
                    <a:lnTo>
                      <a:pt x="192" y="241"/>
                    </a:lnTo>
                    <a:lnTo>
                      <a:pt x="341" y="0"/>
                    </a:lnTo>
                    <a:lnTo>
                      <a:pt x="382" y="0"/>
                    </a:lnTo>
                    <a:lnTo>
                      <a:pt x="382" y="723"/>
                    </a:lnTo>
                    <a:lnTo>
                      <a:pt x="384" y="724"/>
                    </a:lnTo>
                    <a:lnTo>
                      <a:pt x="341" y="724"/>
                    </a:lnTo>
                    <a:lnTo>
                      <a:pt x="192" y="483"/>
                    </a:lnTo>
                    <a:lnTo>
                      <a:pt x="41" y="724"/>
                    </a:lnTo>
                    <a:lnTo>
                      <a:pt x="0" y="7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DB2D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7"/>
              <p:cNvSpPr>
                <a:spLocks/>
              </p:cNvSpPr>
              <p:nvPr/>
            </p:nvSpPr>
            <p:spPr bwMode="auto">
              <a:xfrm>
                <a:off x="1225551" y="2852738"/>
                <a:ext cx="352425" cy="1149350"/>
              </a:xfrm>
              <a:custGeom>
                <a:avLst/>
                <a:gdLst>
                  <a:gd name="T0" fmla="*/ 0 w 222"/>
                  <a:gd name="T1" fmla="*/ 0 h 724"/>
                  <a:gd name="T2" fmla="*/ 222 w 222"/>
                  <a:gd name="T3" fmla="*/ 0 h 724"/>
                  <a:gd name="T4" fmla="*/ 222 w 222"/>
                  <a:gd name="T5" fmla="*/ 724 h 724"/>
                  <a:gd name="T6" fmla="*/ 0 w 222"/>
                  <a:gd name="T7" fmla="*/ 724 h 724"/>
                  <a:gd name="T8" fmla="*/ 222 w 222"/>
                  <a:gd name="T9" fmla="*/ 361 h 724"/>
                  <a:gd name="T10" fmla="*/ 0 w 222"/>
                  <a:gd name="T1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2" h="724">
                    <a:moveTo>
                      <a:pt x="0" y="0"/>
                    </a:moveTo>
                    <a:lnTo>
                      <a:pt x="222" y="0"/>
                    </a:lnTo>
                    <a:lnTo>
                      <a:pt x="222" y="724"/>
                    </a:lnTo>
                    <a:lnTo>
                      <a:pt x="0" y="724"/>
                    </a:lnTo>
                    <a:lnTo>
                      <a:pt x="222" y="36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5843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8"/>
              <p:cNvSpPr>
                <a:spLocks/>
              </p:cNvSpPr>
              <p:nvPr/>
            </p:nvSpPr>
            <p:spPr bwMode="auto">
              <a:xfrm>
                <a:off x="2184401" y="2852738"/>
                <a:ext cx="354013" cy="1149350"/>
              </a:xfrm>
              <a:custGeom>
                <a:avLst/>
                <a:gdLst>
                  <a:gd name="T0" fmla="*/ 0 w 223"/>
                  <a:gd name="T1" fmla="*/ 0 h 724"/>
                  <a:gd name="T2" fmla="*/ 223 w 223"/>
                  <a:gd name="T3" fmla="*/ 0 h 724"/>
                  <a:gd name="T4" fmla="*/ 2 w 223"/>
                  <a:gd name="T5" fmla="*/ 361 h 724"/>
                  <a:gd name="T6" fmla="*/ 223 w 223"/>
                  <a:gd name="T7" fmla="*/ 724 h 724"/>
                  <a:gd name="T8" fmla="*/ 2 w 223"/>
                  <a:gd name="T9" fmla="*/ 724 h 724"/>
                  <a:gd name="T10" fmla="*/ 0 w 223"/>
                  <a:gd name="T11" fmla="*/ 723 h 724"/>
                  <a:gd name="T12" fmla="*/ 0 w 223"/>
                  <a:gd name="T13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3" h="724">
                    <a:moveTo>
                      <a:pt x="0" y="0"/>
                    </a:moveTo>
                    <a:lnTo>
                      <a:pt x="223" y="0"/>
                    </a:lnTo>
                    <a:lnTo>
                      <a:pt x="2" y="361"/>
                    </a:lnTo>
                    <a:lnTo>
                      <a:pt x="223" y="724"/>
                    </a:lnTo>
                    <a:lnTo>
                      <a:pt x="2" y="724"/>
                    </a:lnTo>
                    <a:lnTo>
                      <a:pt x="0" y="7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3983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9"/>
              <p:cNvSpPr>
                <a:spLocks noEditPoints="1"/>
              </p:cNvSpPr>
              <p:nvPr/>
            </p:nvSpPr>
            <p:spPr bwMode="auto">
              <a:xfrm>
                <a:off x="2187576" y="2852738"/>
                <a:ext cx="1274763" cy="1149350"/>
              </a:xfrm>
              <a:custGeom>
                <a:avLst/>
                <a:gdLst>
                  <a:gd name="T0" fmla="*/ 221 w 803"/>
                  <a:gd name="T1" fmla="*/ 179 h 724"/>
                  <a:gd name="T2" fmla="*/ 221 w 803"/>
                  <a:gd name="T3" fmla="*/ 383 h 724"/>
                  <a:gd name="T4" fmla="*/ 523 w 803"/>
                  <a:gd name="T5" fmla="*/ 383 h 724"/>
                  <a:gd name="T6" fmla="*/ 543 w 803"/>
                  <a:gd name="T7" fmla="*/ 382 h 724"/>
                  <a:gd name="T8" fmla="*/ 560 w 803"/>
                  <a:gd name="T9" fmla="*/ 374 h 724"/>
                  <a:gd name="T10" fmla="*/ 573 w 803"/>
                  <a:gd name="T11" fmla="*/ 361 h 724"/>
                  <a:gd name="T12" fmla="*/ 583 w 803"/>
                  <a:gd name="T13" fmla="*/ 346 h 724"/>
                  <a:gd name="T14" fmla="*/ 589 w 803"/>
                  <a:gd name="T15" fmla="*/ 329 h 724"/>
                  <a:gd name="T16" fmla="*/ 594 w 803"/>
                  <a:gd name="T17" fmla="*/ 310 h 724"/>
                  <a:gd name="T18" fmla="*/ 596 w 803"/>
                  <a:gd name="T19" fmla="*/ 292 h 724"/>
                  <a:gd name="T20" fmla="*/ 596 w 803"/>
                  <a:gd name="T21" fmla="*/ 256 h 724"/>
                  <a:gd name="T22" fmla="*/ 592 w 803"/>
                  <a:gd name="T23" fmla="*/ 233 h 724"/>
                  <a:gd name="T24" fmla="*/ 586 w 803"/>
                  <a:gd name="T25" fmla="*/ 215 h 724"/>
                  <a:gd name="T26" fmla="*/ 574 w 803"/>
                  <a:gd name="T27" fmla="*/ 200 h 724"/>
                  <a:gd name="T28" fmla="*/ 558 w 803"/>
                  <a:gd name="T29" fmla="*/ 188 h 724"/>
                  <a:gd name="T30" fmla="*/ 533 w 803"/>
                  <a:gd name="T31" fmla="*/ 182 h 724"/>
                  <a:gd name="T32" fmla="*/ 504 w 803"/>
                  <a:gd name="T33" fmla="*/ 179 h 724"/>
                  <a:gd name="T34" fmla="*/ 221 w 803"/>
                  <a:gd name="T35" fmla="*/ 179 h 724"/>
                  <a:gd name="T36" fmla="*/ 221 w 803"/>
                  <a:gd name="T37" fmla="*/ 0 h 724"/>
                  <a:gd name="T38" fmla="*/ 540 w 803"/>
                  <a:gd name="T39" fmla="*/ 0 h 724"/>
                  <a:gd name="T40" fmla="*/ 589 w 803"/>
                  <a:gd name="T41" fmla="*/ 2 h 724"/>
                  <a:gd name="T42" fmla="*/ 633 w 803"/>
                  <a:gd name="T43" fmla="*/ 8 h 724"/>
                  <a:gd name="T44" fmla="*/ 670 w 803"/>
                  <a:gd name="T45" fmla="*/ 18 h 724"/>
                  <a:gd name="T46" fmla="*/ 702 w 803"/>
                  <a:gd name="T47" fmla="*/ 33 h 724"/>
                  <a:gd name="T48" fmla="*/ 729 w 803"/>
                  <a:gd name="T49" fmla="*/ 49 h 724"/>
                  <a:gd name="T50" fmla="*/ 750 w 803"/>
                  <a:gd name="T51" fmla="*/ 70 h 724"/>
                  <a:gd name="T52" fmla="*/ 768 w 803"/>
                  <a:gd name="T53" fmla="*/ 93 h 724"/>
                  <a:gd name="T54" fmla="*/ 781 w 803"/>
                  <a:gd name="T55" fmla="*/ 120 h 724"/>
                  <a:gd name="T56" fmla="*/ 791 w 803"/>
                  <a:gd name="T57" fmla="*/ 149 h 724"/>
                  <a:gd name="T58" fmla="*/ 798 w 803"/>
                  <a:gd name="T59" fmla="*/ 180 h 724"/>
                  <a:gd name="T60" fmla="*/ 803 w 803"/>
                  <a:gd name="T61" fmla="*/ 213 h 724"/>
                  <a:gd name="T62" fmla="*/ 803 w 803"/>
                  <a:gd name="T63" fmla="*/ 247 h 724"/>
                  <a:gd name="T64" fmla="*/ 803 w 803"/>
                  <a:gd name="T65" fmla="*/ 333 h 724"/>
                  <a:gd name="T66" fmla="*/ 803 w 803"/>
                  <a:gd name="T67" fmla="*/ 361 h 724"/>
                  <a:gd name="T68" fmla="*/ 798 w 803"/>
                  <a:gd name="T69" fmla="*/ 392 h 724"/>
                  <a:gd name="T70" fmla="*/ 791 w 803"/>
                  <a:gd name="T71" fmla="*/ 421 h 724"/>
                  <a:gd name="T72" fmla="*/ 781 w 803"/>
                  <a:gd name="T73" fmla="*/ 449 h 724"/>
                  <a:gd name="T74" fmla="*/ 768 w 803"/>
                  <a:gd name="T75" fmla="*/ 475 h 724"/>
                  <a:gd name="T76" fmla="*/ 750 w 803"/>
                  <a:gd name="T77" fmla="*/ 500 h 724"/>
                  <a:gd name="T78" fmla="*/ 729 w 803"/>
                  <a:gd name="T79" fmla="*/ 521 h 724"/>
                  <a:gd name="T80" fmla="*/ 704 w 803"/>
                  <a:gd name="T81" fmla="*/ 539 h 724"/>
                  <a:gd name="T82" fmla="*/ 673 w 803"/>
                  <a:gd name="T83" fmla="*/ 552 h 724"/>
                  <a:gd name="T84" fmla="*/ 638 w 803"/>
                  <a:gd name="T85" fmla="*/ 560 h 724"/>
                  <a:gd name="T86" fmla="*/ 597 w 803"/>
                  <a:gd name="T87" fmla="*/ 564 h 724"/>
                  <a:gd name="T88" fmla="*/ 221 w 803"/>
                  <a:gd name="T89" fmla="*/ 564 h 724"/>
                  <a:gd name="T90" fmla="*/ 221 w 803"/>
                  <a:gd name="T91" fmla="*/ 724 h 724"/>
                  <a:gd name="T92" fmla="*/ 221 w 803"/>
                  <a:gd name="T93" fmla="*/ 724 h 724"/>
                  <a:gd name="T94" fmla="*/ 0 w 803"/>
                  <a:gd name="T95" fmla="*/ 361 h 724"/>
                  <a:gd name="T96" fmla="*/ 221 w 803"/>
                  <a:gd name="T97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03" h="724">
                    <a:moveTo>
                      <a:pt x="221" y="179"/>
                    </a:moveTo>
                    <a:lnTo>
                      <a:pt x="221" y="383"/>
                    </a:lnTo>
                    <a:lnTo>
                      <a:pt x="523" y="383"/>
                    </a:lnTo>
                    <a:lnTo>
                      <a:pt x="543" y="382"/>
                    </a:lnTo>
                    <a:lnTo>
                      <a:pt x="560" y="374"/>
                    </a:lnTo>
                    <a:lnTo>
                      <a:pt x="573" y="361"/>
                    </a:lnTo>
                    <a:lnTo>
                      <a:pt x="583" y="346"/>
                    </a:lnTo>
                    <a:lnTo>
                      <a:pt x="589" y="329"/>
                    </a:lnTo>
                    <a:lnTo>
                      <a:pt x="594" y="310"/>
                    </a:lnTo>
                    <a:lnTo>
                      <a:pt x="596" y="292"/>
                    </a:lnTo>
                    <a:lnTo>
                      <a:pt x="596" y="256"/>
                    </a:lnTo>
                    <a:lnTo>
                      <a:pt x="592" y="233"/>
                    </a:lnTo>
                    <a:lnTo>
                      <a:pt x="586" y="215"/>
                    </a:lnTo>
                    <a:lnTo>
                      <a:pt x="574" y="200"/>
                    </a:lnTo>
                    <a:lnTo>
                      <a:pt x="558" y="188"/>
                    </a:lnTo>
                    <a:lnTo>
                      <a:pt x="533" y="182"/>
                    </a:lnTo>
                    <a:lnTo>
                      <a:pt x="504" y="179"/>
                    </a:lnTo>
                    <a:lnTo>
                      <a:pt x="221" y="179"/>
                    </a:lnTo>
                    <a:close/>
                    <a:moveTo>
                      <a:pt x="221" y="0"/>
                    </a:moveTo>
                    <a:lnTo>
                      <a:pt x="540" y="0"/>
                    </a:lnTo>
                    <a:lnTo>
                      <a:pt x="589" y="2"/>
                    </a:lnTo>
                    <a:lnTo>
                      <a:pt x="633" y="8"/>
                    </a:lnTo>
                    <a:lnTo>
                      <a:pt x="670" y="18"/>
                    </a:lnTo>
                    <a:lnTo>
                      <a:pt x="702" y="33"/>
                    </a:lnTo>
                    <a:lnTo>
                      <a:pt x="729" y="49"/>
                    </a:lnTo>
                    <a:lnTo>
                      <a:pt x="750" y="70"/>
                    </a:lnTo>
                    <a:lnTo>
                      <a:pt x="768" y="93"/>
                    </a:lnTo>
                    <a:lnTo>
                      <a:pt x="781" y="120"/>
                    </a:lnTo>
                    <a:lnTo>
                      <a:pt x="791" y="149"/>
                    </a:lnTo>
                    <a:lnTo>
                      <a:pt x="798" y="180"/>
                    </a:lnTo>
                    <a:lnTo>
                      <a:pt x="803" y="213"/>
                    </a:lnTo>
                    <a:lnTo>
                      <a:pt x="803" y="247"/>
                    </a:lnTo>
                    <a:lnTo>
                      <a:pt x="803" y="333"/>
                    </a:lnTo>
                    <a:lnTo>
                      <a:pt x="803" y="361"/>
                    </a:lnTo>
                    <a:lnTo>
                      <a:pt x="798" y="392"/>
                    </a:lnTo>
                    <a:lnTo>
                      <a:pt x="791" y="421"/>
                    </a:lnTo>
                    <a:lnTo>
                      <a:pt x="781" y="449"/>
                    </a:lnTo>
                    <a:lnTo>
                      <a:pt x="768" y="475"/>
                    </a:lnTo>
                    <a:lnTo>
                      <a:pt x="750" y="500"/>
                    </a:lnTo>
                    <a:lnTo>
                      <a:pt x="729" y="521"/>
                    </a:lnTo>
                    <a:lnTo>
                      <a:pt x="704" y="539"/>
                    </a:lnTo>
                    <a:lnTo>
                      <a:pt x="673" y="552"/>
                    </a:lnTo>
                    <a:lnTo>
                      <a:pt x="638" y="560"/>
                    </a:lnTo>
                    <a:lnTo>
                      <a:pt x="597" y="564"/>
                    </a:lnTo>
                    <a:lnTo>
                      <a:pt x="221" y="564"/>
                    </a:lnTo>
                    <a:lnTo>
                      <a:pt x="221" y="724"/>
                    </a:lnTo>
                    <a:lnTo>
                      <a:pt x="221" y="724"/>
                    </a:lnTo>
                    <a:lnTo>
                      <a:pt x="0" y="361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C7D22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10"/>
              <p:cNvSpPr>
                <a:spLocks/>
              </p:cNvSpPr>
              <p:nvPr/>
            </p:nvSpPr>
            <p:spPr bwMode="auto">
              <a:xfrm>
                <a:off x="271463" y="2852738"/>
                <a:ext cx="1306513" cy="1149350"/>
              </a:xfrm>
              <a:custGeom>
                <a:avLst/>
                <a:gdLst>
                  <a:gd name="T0" fmla="*/ 0 w 823"/>
                  <a:gd name="T1" fmla="*/ 0 h 724"/>
                  <a:gd name="T2" fmla="*/ 223 w 823"/>
                  <a:gd name="T3" fmla="*/ 0 h 724"/>
                  <a:gd name="T4" fmla="*/ 601 w 823"/>
                  <a:gd name="T5" fmla="*/ 438 h 724"/>
                  <a:gd name="T6" fmla="*/ 601 w 823"/>
                  <a:gd name="T7" fmla="*/ 0 h 724"/>
                  <a:gd name="T8" fmla="*/ 601 w 823"/>
                  <a:gd name="T9" fmla="*/ 0 h 724"/>
                  <a:gd name="T10" fmla="*/ 823 w 823"/>
                  <a:gd name="T11" fmla="*/ 361 h 724"/>
                  <a:gd name="T12" fmla="*/ 601 w 823"/>
                  <a:gd name="T13" fmla="*/ 724 h 724"/>
                  <a:gd name="T14" fmla="*/ 223 w 823"/>
                  <a:gd name="T15" fmla="*/ 287 h 724"/>
                  <a:gd name="T16" fmla="*/ 223 w 823"/>
                  <a:gd name="T17" fmla="*/ 724 h 724"/>
                  <a:gd name="T18" fmla="*/ 0 w 823"/>
                  <a:gd name="T19" fmla="*/ 724 h 724"/>
                  <a:gd name="T20" fmla="*/ 0 w 823"/>
                  <a:gd name="T2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3" h="724">
                    <a:moveTo>
                      <a:pt x="0" y="0"/>
                    </a:moveTo>
                    <a:lnTo>
                      <a:pt x="223" y="0"/>
                    </a:lnTo>
                    <a:lnTo>
                      <a:pt x="601" y="438"/>
                    </a:lnTo>
                    <a:lnTo>
                      <a:pt x="601" y="0"/>
                    </a:lnTo>
                    <a:lnTo>
                      <a:pt x="601" y="0"/>
                    </a:lnTo>
                    <a:lnTo>
                      <a:pt x="823" y="361"/>
                    </a:lnTo>
                    <a:lnTo>
                      <a:pt x="601" y="724"/>
                    </a:lnTo>
                    <a:lnTo>
                      <a:pt x="223" y="287"/>
                    </a:lnTo>
                    <a:lnTo>
                      <a:pt x="223" y="724"/>
                    </a:lnTo>
                    <a:lnTo>
                      <a:pt x="0" y="7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A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3" name="Group 52"/>
            <p:cNvGrpSpPr/>
            <p:nvPr userDrawn="1"/>
          </p:nvGrpSpPr>
          <p:grpSpPr>
            <a:xfrm>
              <a:off x="3364707" y="4271963"/>
              <a:ext cx="5462587" cy="1034628"/>
              <a:chOff x="4252913" y="4551363"/>
              <a:chExt cx="7040562" cy="1333500"/>
            </a:xfrm>
          </p:grpSpPr>
          <p:sp>
            <p:nvSpPr>
              <p:cNvPr id="54" name="Rectangle 12"/>
              <p:cNvSpPr>
                <a:spLocks noChangeArrowheads="1"/>
              </p:cNvSpPr>
              <p:nvPr userDrawn="1"/>
            </p:nvSpPr>
            <p:spPr bwMode="auto">
              <a:xfrm>
                <a:off x="4252913" y="4551363"/>
                <a:ext cx="28575" cy="13335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13"/>
              <p:cNvSpPr>
                <a:spLocks noChangeArrowheads="1"/>
              </p:cNvSpPr>
              <p:nvPr userDrawn="1"/>
            </p:nvSpPr>
            <p:spPr bwMode="auto">
              <a:xfrm>
                <a:off x="11264900" y="4551363"/>
                <a:ext cx="28575" cy="13335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4"/>
              <p:cNvSpPr>
                <a:spLocks/>
              </p:cNvSpPr>
              <p:nvPr userDrawn="1"/>
            </p:nvSpPr>
            <p:spPr bwMode="auto">
              <a:xfrm>
                <a:off x="4714875" y="4765676"/>
                <a:ext cx="250825" cy="396875"/>
              </a:xfrm>
              <a:custGeom>
                <a:avLst/>
                <a:gdLst>
                  <a:gd name="T0" fmla="*/ 88 w 158"/>
                  <a:gd name="T1" fmla="*/ 0 h 250"/>
                  <a:gd name="T2" fmla="*/ 114 w 158"/>
                  <a:gd name="T3" fmla="*/ 3 h 250"/>
                  <a:gd name="T4" fmla="*/ 137 w 158"/>
                  <a:gd name="T5" fmla="*/ 10 h 250"/>
                  <a:gd name="T6" fmla="*/ 156 w 158"/>
                  <a:gd name="T7" fmla="*/ 26 h 250"/>
                  <a:gd name="T8" fmla="*/ 130 w 158"/>
                  <a:gd name="T9" fmla="*/ 52 h 250"/>
                  <a:gd name="T10" fmla="*/ 114 w 158"/>
                  <a:gd name="T11" fmla="*/ 35 h 250"/>
                  <a:gd name="T12" fmla="*/ 88 w 158"/>
                  <a:gd name="T13" fmla="*/ 31 h 250"/>
                  <a:gd name="T14" fmla="*/ 65 w 158"/>
                  <a:gd name="T15" fmla="*/ 33 h 250"/>
                  <a:gd name="T16" fmla="*/ 51 w 158"/>
                  <a:gd name="T17" fmla="*/ 42 h 250"/>
                  <a:gd name="T18" fmla="*/ 44 w 158"/>
                  <a:gd name="T19" fmla="*/ 54 h 250"/>
                  <a:gd name="T20" fmla="*/ 41 w 158"/>
                  <a:gd name="T21" fmla="*/ 66 h 250"/>
                  <a:gd name="T22" fmla="*/ 46 w 158"/>
                  <a:gd name="T23" fmla="*/ 84 h 250"/>
                  <a:gd name="T24" fmla="*/ 55 w 158"/>
                  <a:gd name="T25" fmla="*/ 94 h 250"/>
                  <a:gd name="T26" fmla="*/ 72 w 158"/>
                  <a:gd name="T27" fmla="*/ 103 h 250"/>
                  <a:gd name="T28" fmla="*/ 90 w 158"/>
                  <a:gd name="T29" fmla="*/ 110 h 250"/>
                  <a:gd name="T30" fmla="*/ 109 w 158"/>
                  <a:gd name="T31" fmla="*/ 115 h 250"/>
                  <a:gd name="T32" fmla="*/ 128 w 158"/>
                  <a:gd name="T33" fmla="*/ 124 h 250"/>
                  <a:gd name="T34" fmla="*/ 144 w 158"/>
                  <a:gd name="T35" fmla="*/ 136 h 250"/>
                  <a:gd name="T36" fmla="*/ 156 w 158"/>
                  <a:gd name="T37" fmla="*/ 152 h 250"/>
                  <a:gd name="T38" fmla="*/ 158 w 158"/>
                  <a:gd name="T39" fmla="*/ 178 h 250"/>
                  <a:gd name="T40" fmla="*/ 156 w 158"/>
                  <a:gd name="T41" fmla="*/ 203 h 250"/>
                  <a:gd name="T42" fmla="*/ 144 w 158"/>
                  <a:gd name="T43" fmla="*/ 222 h 250"/>
                  <a:gd name="T44" fmla="*/ 125 w 158"/>
                  <a:gd name="T45" fmla="*/ 238 h 250"/>
                  <a:gd name="T46" fmla="*/ 102 w 158"/>
                  <a:gd name="T47" fmla="*/ 248 h 250"/>
                  <a:gd name="T48" fmla="*/ 76 w 158"/>
                  <a:gd name="T49" fmla="*/ 250 h 250"/>
                  <a:gd name="T50" fmla="*/ 46 w 158"/>
                  <a:gd name="T51" fmla="*/ 248 h 250"/>
                  <a:gd name="T52" fmla="*/ 21 w 158"/>
                  <a:gd name="T53" fmla="*/ 236 h 250"/>
                  <a:gd name="T54" fmla="*/ 0 w 158"/>
                  <a:gd name="T55" fmla="*/ 217 h 250"/>
                  <a:gd name="T56" fmla="*/ 28 w 158"/>
                  <a:gd name="T57" fmla="*/ 194 h 250"/>
                  <a:gd name="T58" fmla="*/ 41 w 158"/>
                  <a:gd name="T59" fmla="*/ 210 h 250"/>
                  <a:gd name="T60" fmla="*/ 58 w 158"/>
                  <a:gd name="T61" fmla="*/ 217 h 250"/>
                  <a:gd name="T62" fmla="*/ 76 w 158"/>
                  <a:gd name="T63" fmla="*/ 220 h 250"/>
                  <a:gd name="T64" fmla="*/ 93 w 158"/>
                  <a:gd name="T65" fmla="*/ 217 h 250"/>
                  <a:gd name="T66" fmla="*/ 109 w 158"/>
                  <a:gd name="T67" fmla="*/ 210 h 250"/>
                  <a:gd name="T68" fmla="*/ 121 w 158"/>
                  <a:gd name="T69" fmla="*/ 199 h 250"/>
                  <a:gd name="T70" fmla="*/ 125 w 158"/>
                  <a:gd name="T71" fmla="*/ 180 h 250"/>
                  <a:gd name="T72" fmla="*/ 121 w 158"/>
                  <a:gd name="T73" fmla="*/ 166 h 250"/>
                  <a:gd name="T74" fmla="*/ 109 w 158"/>
                  <a:gd name="T75" fmla="*/ 154 h 250"/>
                  <a:gd name="T76" fmla="*/ 95 w 158"/>
                  <a:gd name="T77" fmla="*/ 147 h 250"/>
                  <a:gd name="T78" fmla="*/ 76 w 158"/>
                  <a:gd name="T79" fmla="*/ 140 h 250"/>
                  <a:gd name="T80" fmla="*/ 55 w 158"/>
                  <a:gd name="T81" fmla="*/ 133 h 250"/>
                  <a:gd name="T82" fmla="*/ 37 w 158"/>
                  <a:gd name="T83" fmla="*/ 126 h 250"/>
                  <a:gd name="T84" fmla="*/ 23 w 158"/>
                  <a:gd name="T85" fmla="*/ 112 h 250"/>
                  <a:gd name="T86" fmla="*/ 11 w 158"/>
                  <a:gd name="T87" fmla="*/ 94 h 250"/>
                  <a:gd name="T88" fmla="*/ 7 w 158"/>
                  <a:gd name="T89" fmla="*/ 66 h 250"/>
                  <a:gd name="T90" fmla="*/ 9 w 158"/>
                  <a:gd name="T91" fmla="*/ 49 h 250"/>
                  <a:gd name="T92" fmla="*/ 18 w 158"/>
                  <a:gd name="T93" fmla="*/ 31 h 250"/>
                  <a:gd name="T94" fmla="*/ 35 w 158"/>
                  <a:gd name="T95" fmla="*/ 14 h 250"/>
                  <a:gd name="T96" fmla="*/ 58 w 158"/>
                  <a:gd name="T97" fmla="*/ 3 h 250"/>
                  <a:gd name="T98" fmla="*/ 88 w 158"/>
                  <a:gd name="T9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8" h="250">
                    <a:moveTo>
                      <a:pt x="88" y="0"/>
                    </a:moveTo>
                    <a:lnTo>
                      <a:pt x="114" y="3"/>
                    </a:lnTo>
                    <a:lnTo>
                      <a:pt x="137" y="10"/>
                    </a:lnTo>
                    <a:lnTo>
                      <a:pt x="156" y="26"/>
                    </a:lnTo>
                    <a:lnTo>
                      <a:pt x="130" y="52"/>
                    </a:lnTo>
                    <a:lnTo>
                      <a:pt x="114" y="35"/>
                    </a:lnTo>
                    <a:lnTo>
                      <a:pt x="88" y="31"/>
                    </a:lnTo>
                    <a:lnTo>
                      <a:pt x="65" y="33"/>
                    </a:lnTo>
                    <a:lnTo>
                      <a:pt x="51" y="42"/>
                    </a:lnTo>
                    <a:lnTo>
                      <a:pt x="44" y="54"/>
                    </a:lnTo>
                    <a:lnTo>
                      <a:pt x="41" y="66"/>
                    </a:lnTo>
                    <a:lnTo>
                      <a:pt x="46" y="84"/>
                    </a:lnTo>
                    <a:lnTo>
                      <a:pt x="55" y="94"/>
                    </a:lnTo>
                    <a:lnTo>
                      <a:pt x="72" y="103"/>
                    </a:lnTo>
                    <a:lnTo>
                      <a:pt x="90" y="110"/>
                    </a:lnTo>
                    <a:lnTo>
                      <a:pt x="109" y="115"/>
                    </a:lnTo>
                    <a:lnTo>
                      <a:pt x="128" y="124"/>
                    </a:lnTo>
                    <a:lnTo>
                      <a:pt x="144" y="136"/>
                    </a:lnTo>
                    <a:lnTo>
                      <a:pt x="156" y="152"/>
                    </a:lnTo>
                    <a:lnTo>
                      <a:pt x="158" y="178"/>
                    </a:lnTo>
                    <a:lnTo>
                      <a:pt x="156" y="203"/>
                    </a:lnTo>
                    <a:lnTo>
                      <a:pt x="144" y="222"/>
                    </a:lnTo>
                    <a:lnTo>
                      <a:pt x="125" y="238"/>
                    </a:lnTo>
                    <a:lnTo>
                      <a:pt x="102" y="248"/>
                    </a:lnTo>
                    <a:lnTo>
                      <a:pt x="76" y="250"/>
                    </a:lnTo>
                    <a:lnTo>
                      <a:pt x="46" y="248"/>
                    </a:lnTo>
                    <a:lnTo>
                      <a:pt x="21" y="236"/>
                    </a:lnTo>
                    <a:lnTo>
                      <a:pt x="0" y="217"/>
                    </a:lnTo>
                    <a:lnTo>
                      <a:pt x="28" y="194"/>
                    </a:lnTo>
                    <a:lnTo>
                      <a:pt x="41" y="210"/>
                    </a:lnTo>
                    <a:lnTo>
                      <a:pt x="58" y="217"/>
                    </a:lnTo>
                    <a:lnTo>
                      <a:pt x="76" y="220"/>
                    </a:lnTo>
                    <a:lnTo>
                      <a:pt x="93" y="217"/>
                    </a:lnTo>
                    <a:lnTo>
                      <a:pt x="109" y="210"/>
                    </a:lnTo>
                    <a:lnTo>
                      <a:pt x="121" y="199"/>
                    </a:lnTo>
                    <a:lnTo>
                      <a:pt x="125" y="180"/>
                    </a:lnTo>
                    <a:lnTo>
                      <a:pt x="121" y="166"/>
                    </a:lnTo>
                    <a:lnTo>
                      <a:pt x="109" y="154"/>
                    </a:lnTo>
                    <a:lnTo>
                      <a:pt x="95" y="147"/>
                    </a:lnTo>
                    <a:lnTo>
                      <a:pt x="76" y="140"/>
                    </a:lnTo>
                    <a:lnTo>
                      <a:pt x="55" y="133"/>
                    </a:lnTo>
                    <a:lnTo>
                      <a:pt x="37" y="126"/>
                    </a:lnTo>
                    <a:lnTo>
                      <a:pt x="23" y="112"/>
                    </a:lnTo>
                    <a:lnTo>
                      <a:pt x="11" y="94"/>
                    </a:lnTo>
                    <a:lnTo>
                      <a:pt x="7" y="66"/>
                    </a:lnTo>
                    <a:lnTo>
                      <a:pt x="9" y="49"/>
                    </a:lnTo>
                    <a:lnTo>
                      <a:pt x="18" y="31"/>
                    </a:lnTo>
                    <a:lnTo>
                      <a:pt x="35" y="14"/>
                    </a:lnTo>
                    <a:lnTo>
                      <a:pt x="58" y="3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15"/>
              <p:cNvSpPr>
                <a:spLocks/>
              </p:cNvSpPr>
              <p:nvPr userDrawn="1"/>
            </p:nvSpPr>
            <p:spPr bwMode="auto">
              <a:xfrm>
                <a:off x="5043488" y="4773613"/>
                <a:ext cx="254000" cy="381000"/>
              </a:xfrm>
              <a:custGeom>
                <a:avLst/>
                <a:gdLst>
                  <a:gd name="T0" fmla="*/ 0 w 160"/>
                  <a:gd name="T1" fmla="*/ 0 h 240"/>
                  <a:gd name="T2" fmla="*/ 153 w 160"/>
                  <a:gd name="T3" fmla="*/ 0 h 240"/>
                  <a:gd name="T4" fmla="*/ 153 w 160"/>
                  <a:gd name="T5" fmla="*/ 30 h 240"/>
                  <a:gd name="T6" fmla="*/ 32 w 160"/>
                  <a:gd name="T7" fmla="*/ 30 h 240"/>
                  <a:gd name="T8" fmla="*/ 32 w 160"/>
                  <a:gd name="T9" fmla="*/ 103 h 240"/>
                  <a:gd name="T10" fmla="*/ 146 w 160"/>
                  <a:gd name="T11" fmla="*/ 103 h 240"/>
                  <a:gd name="T12" fmla="*/ 146 w 160"/>
                  <a:gd name="T13" fmla="*/ 133 h 240"/>
                  <a:gd name="T14" fmla="*/ 32 w 160"/>
                  <a:gd name="T15" fmla="*/ 133 h 240"/>
                  <a:gd name="T16" fmla="*/ 32 w 160"/>
                  <a:gd name="T17" fmla="*/ 210 h 240"/>
                  <a:gd name="T18" fmla="*/ 160 w 160"/>
                  <a:gd name="T19" fmla="*/ 210 h 240"/>
                  <a:gd name="T20" fmla="*/ 160 w 160"/>
                  <a:gd name="T21" fmla="*/ 240 h 240"/>
                  <a:gd name="T22" fmla="*/ 0 w 160"/>
                  <a:gd name="T23" fmla="*/ 240 h 240"/>
                  <a:gd name="T24" fmla="*/ 0 w 160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0" h="240">
                    <a:moveTo>
                      <a:pt x="0" y="0"/>
                    </a:moveTo>
                    <a:lnTo>
                      <a:pt x="153" y="0"/>
                    </a:lnTo>
                    <a:lnTo>
                      <a:pt x="153" y="30"/>
                    </a:lnTo>
                    <a:lnTo>
                      <a:pt x="32" y="30"/>
                    </a:lnTo>
                    <a:lnTo>
                      <a:pt x="32" y="103"/>
                    </a:lnTo>
                    <a:lnTo>
                      <a:pt x="146" y="103"/>
                    </a:lnTo>
                    <a:lnTo>
                      <a:pt x="146" y="133"/>
                    </a:lnTo>
                    <a:lnTo>
                      <a:pt x="32" y="133"/>
                    </a:lnTo>
                    <a:lnTo>
                      <a:pt x="32" y="210"/>
                    </a:lnTo>
                    <a:lnTo>
                      <a:pt x="160" y="210"/>
                    </a:lnTo>
                    <a:lnTo>
                      <a:pt x="160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16"/>
              <p:cNvSpPr>
                <a:spLocks/>
              </p:cNvSpPr>
              <p:nvPr userDrawn="1"/>
            </p:nvSpPr>
            <p:spPr bwMode="auto">
              <a:xfrm>
                <a:off x="5335588" y="4765676"/>
                <a:ext cx="339725" cy="396875"/>
              </a:xfrm>
              <a:custGeom>
                <a:avLst/>
                <a:gdLst>
                  <a:gd name="T0" fmla="*/ 125 w 214"/>
                  <a:gd name="T1" fmla="*/ 0 h 250"/>
                  <a:gd name="T2" fmla="*/ 156 w 214"/>
                  <a:gd name="T3" fmla="*/ 3 h 250"/>
                  <a:gd name="T4" fmla="*/ 186 w 214"/>
                  <a:gd name="T5" fmla="*/ 17 h 250"/>
                  <a:gd name="T6" fmla="*/ 209 w 214"/>
                  <a:gd name="T7" fmla="*/ 38 h 250"/>
                  <a:gd name="T8" fmla="*/ 181 w 214"/>
                  <a:gd name="T9" fmla="*/ 56 h 250"/>
                  <a:gd name="T10" fmla="*/ 165 w 214"/>
                  <a:gd name="T11" fmla="*/ 42 h 250"/>
                  <a:gd name="T12" fmla="*/ 146 w 214"/>
                  <a:gd name="T13" fmla="*/ 33 h 250"/>
                  <a:gd name="T14" fmla="*/ 123 w 214"/>
                  <a:gd name="T15" fmla="*/ 31 h 250"/>
                  <a:gd name="T16" fmla="*/ 95 w 214"/>
                  <a:gd name="T17" fmla="*/ 35 h 250"/>
                  <a:gd name="T18" fmla="*/ 69 w 214"/>
                  <a:gd name="T19" fmla="*/ 49 h 250"/>
                  <a:gd name="T20" fmla="*/ 51 w 214"/>
                  <a:gd name="T21" fmla="*/ 70 h 250"/>
                  <a:gd name="T22" fmla="*/ 39 w 214"/>
                  <a:gd name="T23" fmla="*/ 96 h 250"/>
                  <a:gd name="T24" fmla="*/ 34 w 214"/>
                  <a:gd name="T25" fmla="*/ 126 h 250"/>
                  <a:gd name="T26" fmla="*/ 39 w 214"/>
                  <a:gd name="T27" fmla="*/ 157 h 250"/>
                  <a:gd name="T28" fmla="*/ 51 w 214"/>
                  <a:gd name="T29" fmla="*/ 182 h 250"/>
                  <a:gd name="T30" fmla="*/ 69 w 214"/>
                  <a:gd name="T31" fmla="*/ 201 h 250"/>
                  <a:gd name="T32" fmla="*/ 93 w 214"/>
                  <a:gd name="T33" fmla="*/ 215 h 250"/>
                  <a:gd name="T34" fmla="*/ 123 w 214"/>
                  <a:gd name="T35" fmla="*/ 220 h 250"/>
                  <a:gd name="T36" fmla="*/ 149 w 214"/>
                  <a:gd name="T37" fmla="*/ 217 h 250"/>
                  <a:gd name="T38" fmla="*/ 169 w 214"/>
                  <a:gd name="T39" fmla="*/ 206 h 250"/>
                  <a:gd name="T40" fmla="*/ 186 w 214"/>
                  <a:gd name="T41" fmla="*/ 189 h 250"/>
                  <a:gd name="T42" fmla="*/ 214 w 214"/>
                  <a:gd name="T43" fmla="*/ 208 h 250"/>
                  <a:gd name="T44" fmla="*/ 207 w 214"/>
                  <a:gd name="T45" fmla="*/ 217 h 250"/>
                  <a:gd name="T46" fmla="*/ 195 w 214"/>
                  <a:gd name="T47" fmla="*/ 229 h 250"/>
                  <a:gd name="T48" fmla="*/ 176 w 214"/>
                  <a:gd name="T49" fmla="*/ 238 h 250"/>
                  <a:gd name="T50" fmla="*/ 153 w 214"/>
                  <a:gd name="T51" fmla="*/ 248 h 250"/>
                  <a:gd name="T52" fmla="*/ 123 w 214"/>
                  <a:gd name="T53" fmla="*/ 250 h 250"/>
                  <a:gd name="T54" fmla="*/ 88 w 214"/>
                  <a:gd name="T55" fmla="*/ 245 h 250"/>
                  <a:gd name="T56" fmla="*/ 58 w 214"/>
                  <a:gd name="T57" fmla="*/ 231 h 250"/>
                  <a:gd name="T58" fmla="*/ 32 w 214"/>
                  <a:gd name="T59" fmla="*/ 213 h 250"/>
                  <a:gd name="T60" fmla="*/ 16 w 214"/>
                  <a:gd name="T61" fmla="*/ 187 h 250"/>
                  <a:gd name="T62" fmla="*/ 4 w 214"/>
                  <a:gd name="T63" fmla="*/ 157 h 250"/>
                  <a:gd name="T64" fmla="*/ 0 w 214"/>
                  <a:gd name="T65" fmla="*/ 126 h 250"/>
                  <a:gd name="T66" fmla="*/ 7 w 214"/>
                  <a:gd name="T67" fmla="*/ 84 h 250"/>
                  <a:gd name="T68" fmla="*/ 23 w 214"/>
                  <a:gd name="T69" fmla="*/ 49 h 250"/>
                  <a:gd name="T70" fmla="*/ 48 w 214"/>
                  <a:gd name="T71" fmla="*/ 24 h 250"/>
                  <a:gd name="T72" fmla="*/ 83 w 214"/>
                  <a:gd name="T73" fmla="*/ 5 h 250"/>
                  <a:gd name="T74" fmla="*/ 125 w 214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4" h="250">
                    <a:moveTo>
                      <a:pt x="125" y="0"/>
                    </a:moveTo>
                    <a:lnTo>
                      <a:pt x="156" y="3"/>
                    </a:lnTo>
                    <a:lnTo>
                      <a:pt x="186" y="17"/>
                    </a:lnTo>
                    <a:lnTo>
                      <a:pt x="209" y="38"/>
                    </a:lnTo>
                    <a:lnTo>
                      <a:pt x="181" y="56"/>
                    </a:lnTo>
                    <a:lnTo>
                      <a:pt x="165" y="42"/>
                    </a:lnTo>
                    <a:lnTo>
                      <a:pt x="146" y="33"/>
                    </a:lnTo>
                    <a:lnTo>
                      <a:pt x="123" y="31"/>
                    </a:lnTo>
                    <a:lnTo>
                      <a:pt x="95" y="35"/>
                    </a:lnTo>
                    <a:lnTo>
                      <a:pt x="69" y="49"/>
                    </a:lnTo>
                    <a:lnTo>
                      <a:pt x="51" y="70"/>
                    </a:lnTo>
                    <a:lnTo>
                      <a:pt x="39" y="96"/>
                    </a:lnTo>
                    <a:lnTo>
                      <a:pt x="34" y="126"/>
                    </a:lnTo>
                    <a:lnTo>
                      <a:pt x="39" y="157"/>
                    </a:lnTo>
                    <a:lnTo>
                      <a:pt x="51" y="182"/>
                    </a:lnTo>
                    <a:lnTo>
                      <a:pt x="69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9" y="217"/>
                    </a:lnTo>
                    <a:lnTo>
                      <a:pt x="169" y="206"/>
                    </a:lnTo>
                    <a:lnTo>
                      <a:pt x="186" y="189"/>
                    </a:lnTo>
                    <a:lnTo>
                      <a:pt x="214" y="208"/>
                    </a:lnTo>
                    <a:lnTo>
                      <a:pt x="207" y="217"/>
                    </a:lnTo>
                    <a:lnTo>
                      <a:pt x="195" y="229"/>
                    </a:lnTo>
                    <a:lnTo>
                      <a:pt x="176" y="238"/>
                    </a:lnTo>
                    <a:lnTo>
                      <a:pt x="153" y="248"/>
                    </a:lnTo>
                    <a:lnTo>
                      <a:pt x="123" y="250"/>
                    </a:lnTo>
                    <a:lnTo>
                      <a:pt x="88" y="245"/>
                    </a:lnTo>
                    <a:lnTo>
                      <a:pt x="58" y="231"/>
                    </a:lnTo>
                    <a:lnTo>
                      <a:pt x="32" y="213"/>
                    </a:lnTo>
                    <a:lnTo>
                      <a:pt x="16" y="187"/>
                    </a:lnTo>
                    <a:lnTo>
                      <a:pt x="4" y="157"/>
                    </a:lnTo>
                    <a:lnTo>
                      <a:pt x="0" y="126"/>
                    </a:lnTo>
                    <a:lnTo>
                      <a:pt x="7" y="84"/>
                    </a:lnTo>
                    <a:lnTo>
                      <a:pt x="23" y="49"/>
                    </a:lnTo>
                    <a:lnTo>
                      <a:pt x="48" y="24"/>
                    </a:lnTo>
                    <a:lnTo>
                      <a:pt x="83" y="5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17"/>
              <p:cNvSpPr>
                <a:spLocks/>
              </p:cNvSpPr>
              <p:nvPr userDrawn="1"/>
            </p:nvSpPr>
            <p:spPr bwMode="auto">
              <a:xfrm>
                <a:off x="5719763" y="4773613"/>
                <a:ext cx="290513" cy="388938"/>
              </a:xfrm>
              <a:custGeom>
                <a:avLst/>
                <a:gdLst>
                  <a:gd name="T0" fmla="*/ 0 w 183"/>
                  <a:gd name="T1" fmla="*/ 0 h 245"/>
                  <a:gd name="T2" fmla="*/ 32 w 183"/>
                  <a:gd name="T3" fmla="*/ 0 h 245"/>
                  <a:gd name="T4" fmla="*/ 32 w 183"/>
                  <a:gd name="T5" fmla="*/ 147 h 245"/>
                  <a:gd name="T6" fmla="*/ 35 w 183"/>
                  <a:gd name="T7" fmla="*/ 166 h 245"/>
                  <a:gd name="T8" fmla="*/ 39 w 183"/>
                  <a:gd name="T9" fmla="*/ 184 h 245"/>
                  <a:gd name="T10" fmla="*/ 51 w 183"/>
                  <a:gd name="T11" fmla="*/ 201 h 245"/>
                  <a:gd name="T12" fmla="*/ 67 w 183"/>
                  <a:gd name="T13" fmla="*/ 212 h 245"/>
                  <a:gd name="T14" fmla="*/ 93 w 183"/>
                  <a:gd name="T15" fmla="*/ 215 h 245"/>
                  <a:gd name="T16" fmla="*/ 116 w 183"/>
                  <a:gd name="T17" fmla="*/ 212 h 245"/>
                  <a:gd name="T18" fmla="*/ 132 w 183"/>
                  <a:gd name="T19" fmla="*/ 201 h 245"/>
                  <a:gd name="T20" fmla="*/ 144 w 183"/>
                  <a:gd name="T21" fmla="*/ 184 h 245"/>
                  <a:gd name="T22" fmla="*/ 151 w 183"/>
                  <a:gd name="T23" fmla="*/ 166 h 245"/>
                  <a:gd name="T24" fmla="*/ 151 w 183"/>
                  <a:gd name="T25" fmla="*/ 147 h 245"/>
                  <a:gd name="T26" fmla="*/ 151 w 183"/>
                  <a:gd name="T27" fmla="*/ 0 h 245"/>
                  <a:gd name="T28" fmla="*/ 183 w 183"/>
                  <a:gd name="T29" fmla="*/ 0 h 245"/>
                  <a:gd name="T30" fmla="*/ 183 w 183"/>
                  <a:gd name="T31" fmla="*/ 152 h 245"/>
                  <a:gd name="T32" fmla="*/ 179 w 183"/>
                  <a:gd name="T33" fmla="*/ 184 h 245"/>
                  <a:gd name="T34" fmla="*/ 167 w 183"/>
                  <a:gd name="T35" fmla="*/ 210 h 245"/>
                  <a:gd name="T36" fmla="*/ 146 w 183"/>
                  <a:gd name="T37" fmla="*/ 229 h 245"/>
                  <a:gd name="T38" fmla="*/ 121 w 183"/>
                  <a:gd name="T39" fmla="*/ 240 h 245"/>
                  <a:gd name="T40" fmla="*/ 93 w 183"/>
                  <a:gd name="T41" fmla="*/ 245 h 245"/>
                  <a:gd name="T42" fmla="*/ 62 w 183"/>
                  <a:gd name="T43" fmla="*/ 240 h 245"/>
                  <a:gd name="T44" fmla="*/ 37 w 183"/>
                  <a:gd name="T45" fmla="*/ 229 h 245"/>
                  <a:gd name="T46" fmla="*/ 16 w 183"/>
                  <a:gd name="T47" fmla="*/ 210 h 245"/>
                  <a:gd name="T48" fmla="*/ 4 w 183"/>
                  <a:gd name="T49" fmla="*/ 184 h 245"/>
                  <a:gd name="T50" fmla="*/ 0 w 183"/>
                  <a:gd name="T51" fmla="*/ 152 h 245"/>
                  <a:gd name="T52" fmla="*/ 0 w 183"/>
                  <a:gd name="T53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3" h="245">
                    <a:moveTo>
                      <a:pt x="0" y="0"/>
                    </a:moveTo>
                    <a:lnTo>
                      <a:pt x="32" y="0"/>
                    </a:lnTo>
                    <a:lnTo>
                      <a:pt x="32" y="147"/>
                    </a:lnTo>
                    <a:lnTo>
                      <a:pt x="35" y="166"/>
                    </a:lnTo>
                    <a:lnTo>
                      <a:pt x="39" y="184"/>
                    </a:lnTo>
                    <a:lnTo>
                      <a:pt x="51" y="201"/>
                    </a:lnTo>
                    <a:lnTo>
                      <a:pt x="67" y="212"/>
                    </a:lnTo>
                    <a:lnTo>
                      <a:pt x="93" y="215"/>
                    </a:lnTo>
                    <a:lnTo>
                      <a:pt x="116" y="212"/>
                    </a:lnTo>
                    <a:lnTo>
                      <a:pt x="132" y="201"/>
                    </a:lnTo>
                    <a:lnTo>
                      <a:pt x="144" y="184"/>
                    </a:lnTo>
                    <a:lnTo>
                      <a:pt x="151" y="166"/>
                    </a:lnTo>
                    <a:lnTo>
                      <a:pt x="151" y="147"/>
                    </a:lnTo>
                    <a:lnTo>
                      <a:pt x="151" y="0"/>
                    </a:lnTo>
                    <a:lnTo>
                      <a:pt x="183" y="0"/>
                    </a:lnTo>
                    <a:lnTo>
                      <a:pt x="183" y="152"/>
                    </a:lnTo>
                    <a:lnTo>
                      <a:pt x="179" y="184"/>
                    </a:lnTo>
                    <a:lnTo>
                      <a:pt x="167" y="210"/>
                    </a:lnTo>
                    <a:lnTo>
                      <a:pt x="146" y="229"/>
                    </a:lnTo>
                    <a:lnTo>
                      <a:pt x="121" y="240"/>
                    </a:lnTo>
                    <a:lnTo>
                      <a:pt x="93" y="245"/>
                    </a:lnTo>
                    <a:lnTo>
                      <a:pt x="62" y="240"/>
                    </a:lnTo>
                    <a:lnTo>
                      <a:pt x="37" y="229"/>
                    </a:lnTo>
                    <a:lnTo>
                      <a:pt x="16" y="210"/>
                    </a:lnTo>
                    <a:lnTo>
                      <a:pt x="4" y="184"/>
                    </a:lnTo>
                    <a:lnTo>
                      <a:pt x="0" y="1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18"/>
              <p:cNvSpPr>
                <a:spLocks noEditPoints="1"/>
              </p:cNvSpPr>
              <p:nvPr userDrawn="1"/>
            </p:nvSpPr>
            <p:spPr bwMode="auto">
              <a:xfrm>
                <a:off x="6103938" y="4773613"/>
                <a:ext cx="269875" cy="381000"/>
              </a:xfrm>
              <a:custGeom>
                <a:avLst/>
                <a:gdLst>
                  <a:gd name="T0" fmla="*/ 32 w 170"/>
                  <a:gd name="T1" fmla="*/ 28 h 240"/>
                  <a:gd name="T2" fmla="*/ 32 w 170"/>
                  <a:gd name="T3" fmla="*/ 105 h 240"/>
                  <a:gd name="T4" fmla="*/ 74 w 170"/>
                  <a:gd name="T5" fmla="*/ 105 h 240"/>
                  <a:gd name="T6" fmla="*/ 88 w 170"/>
                  <a:gd name="T7" fmla="*/ 105 h 240"/>
                  <a:gd name="T8" fmla="*/ 102 w 170"/>
                  <a:gd name="T9" fmla="*/ 103 h 240"/>
                  <a:gd name="T10" fmla="*/ 114 w 170"/>
                  <a:gd name="T11" fmla="*/ 96 h 240"/>
                  <a:gd name="T12" fmla="*/ 123 w 170"/>
                  <a:gd name="T13" fmla="*/ 84 h 240"/>
                  <a:gd name="T14" fmla="*/ 125 w 170"/>
                  <a:gd name="T15" fmla="*/ 68 h 240"/>
                  <a:gd name="T16" fmla="*/ 123 w 170"/>
                  <a:gd name="T17" fmla="*/ 51 h 240"/>
                  <a:gd name="T18" fmla="*/ 114 w 170"/>
                  <a:gd name="T19" fmla="*/ 40 h 240"/>
                  <a:gd name="T20" fmla="*/ 102 w 170"/>
                  <a:gd name="T21" fmla="*/ 33 h 240"/>
                  <a:gd name="T22" fmla="*/ 88 w 170"/>
                  <a:gd name="T23" fmla="*/ 30 h 240"/>
                  <a:gd name="T24" fmla="*/ 74 w 170"/>
                  <a:gd name="T25" fmla="*/ 28 h 240"/>
                  <a:gd name="T26" fmla="*/ 32 w 170"/>
                  <a:gd name="T27" fmla="*/ 28 h 240"/>
                  <a:gd name="T28" fmla="*/ 0 w 170"/>
                  <a:gd name="T29" fmla="*/ 0 h 240"/>
                  <a:gd name="T30" fmla="*/ 83 w 170"/>
                  <a:gd name="T31" fmla="*/ 0 h 240"/>
                  <a:gd name="T32" fmla="*/ 109 w 170"/>
                  <a:gd name="T33" fmla="*/ 2 h 240"/>
                  <a:gd name="T34" fmla="*/ 130 w 170"/>
                  <a:gd name="T35" fmla="*/ 12 h 240"/>
                  <a:gd name="T36" fmla="*/ 144 w 170"/>
                  <a:gd name="T37" fmla="*/ 23 h 240"/>
                  <a:gd name="T38" fmla="*/ 153 w 170"/>
                  <a:gd name="T39" fmla="*/ 37 h 240"/>
                  <a:gd name="T40" fmla="*/ 158 w 170"/>
                  <a:gd name="T41" fmla="*/ 51 h 240"/>
                  <a:gd name="T42" fmla="*/ 160 w 170"/>
                  <a:gd name="T43" fmla="*/ 68 h 240"/>
                  <a:gd name="T44" fmla="*/ 156 w 170"/>
                  <a:gd name="T45" fmla="*/ 89 h 240"/>
                  <a:gd name="T46" fmla="*/ 144 w 170"/>
                  <a:gd name="T47" fmla="*/ 110 h 240"/>
                  <a:gd name="T48" fmla="*/ 125 w 170"/>
                  <a:gd name="T49" fmla="*/ 124 h 240"/>
                  <a:gd name="T50" fmla="*/ 102 w 170"/>
                  <a:gd name="T51" fmla="*/ 131 h 240"/>
                  <a:gd name="T52" fmla="*/ 170 w 170"/>
                  <a:gd name="T53" fmla="*/ 240 h 240"/>
                  <a:gd name="T54" fmla="*/ 128 w 170"/>
                  <a:gd name="T55" fmla="*/ 240 h 240"/>
                  <a:gd name="T56" fmla="*/ 67 w 170"/>
                  <a:gd name="T57" fmla="*/ 135 h 240"/>
                  <a:gd name="T58" fmla="*/ 32 w 170"/>
                  <a:gd name="T59" fmla="*/ 135 h 240"/>
                  <a:gd name="T60" fmla="*/ 32 w 170"/>
                  <a:gd name="T61" fmla="*/ 240 h 240"/>
                  <a:gd name="T62" fmla="*/ 0 w 170"/>
                  <a:gd name="T63" fmla="*/ 240 h 240"/>
                  <a:gd name="T64" fmla="*/ 0 w 170"/>
                  <a:gd name="T6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0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88" y="105"/>
                    </a:lnTo>
                    <a:lnTo>
                      <a:pt x="102" y="103"/>
                    </a:lnTo>
                    <a:lnTo>
                      <a:pt x="114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1"/>
                    </a:lnTo>
                    <a:lnTo>
                      <a:pt x="114" y="40"/>
                    </a:lnTo>
                    <a:lnTo>
                      <a:pt x="102" y="33"/>
                    </a:lnTo>
                    <a:lnTo>
                      <a:pt x="88" y="30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09" y="2"/>
                    </a:lnTo>
                    <a:lnTo>
                      <a:pt x="130" y="12"/>
                    </a:lnTo>
                    <a:lnTo>
                      <a:pt x="144" y="23"/>
                    </a:lnTo>
                    <a:lnTo>
                      <a:pt x="153" y="37"/>
                    </a:lnTo>
                    <a:lnTo>
                      <a:pt x="158" y="51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2" y="131"/>
                    </a:lnTo>
                    <a:lnTo>
                      <a:pt x="170" y="240"/>
                    </a:lnTo>
                    <a:lnTo>
                      <a:pt x="128" y="240"/>
                    </a:lnTo>
                    <a:lnTo>
                      <a:pt x="67" y="135"/>
                    </a:lnTo>
                    <a:lnTo>
                      <a:pt x="32" y="135"/>
                    </a:lnTo>
                    <a:lnTo>
                      <a:pt x="32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19"/>
              <p:cNvSpPr>
                <a:spLocks/>
              </p:cNvSpPr>
              <p:nvPr userDrawn="1"/>
            </p:nvSpPr>
            <p:spPr bwMode="auto">
              <a:xfrm>
                <a:off x="6427788" y="4773613"/>
                <a:ext cx="255588" cy="381000"/>
              </a:xfrm>
              <a:custGeom>
                <a:avLst/>
                <a:gdLst>
                  <a:gd name="T0" fmla="*/ 0 w 161"/>
                  <a:gd name="T1" fmla="*/ 0 h 240"/>
                  <a:gd name="T2" fmla="*/ 156 w 161"/>
                  <a:gd name="T3" fmla="*/ 0 h 240"/>
                  <a:gd name="T4" fmla="*/ 156 w 161"/>
                  <a:gd name="T5" fmla="*/ 30 h 240"/>
                  <a:gd name="T6" fmla="*/ 33 w 161"/>
                  <a:gd name="T7" fmla="*/ 30 h 240"/>
                  <a:gd name="T8" fmla="*/ 33 w 161"/>
                  <a:gd name="T9" fmla="*/ 103 h 240"/>
                  <a:gd name="T10" fmla="*/ 147 w 161"/>
                  <a:gd name="T11" fmla="*/ 103 h 240"/>
                  <a:gd name="T12" fmla="*/ 147 w 161"/>
                  <a:gd name="T13" fmla="*/ 133 h 240"/>
                  <a:gd name="T14" fmla="*/ 33 w 161"/>
                  <a:gd name="T15" fmla="*/ 133 h 240"/>
                  <a:gd name="T16" fmla="*/ 33 w 161"/>
                  <a:gd name="T17" fmla="*/ 210 h 240"/>
                  <a:gd name="T18" fmla="*/ 161 w 161"/>
                  <a:gd name="T19" fmla="*/ 210 h 240"/>
                  <a:gd name="T20" fmla="*/ 161 w 161"/>
                  <a:gd name="T21" fmla="*/ 240 h 240"/>
                  <a:gd name="T22" fmla="*/ 0 w 161"/>
                  <a:gd name="T23" fmla="*/ 240 h 240"/>
                  <a:gd name="T24" fmla="*/ 0 w 161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1" h="240">
                    <a:moveTo>
                      <a:pt x="0" y="0"/>
                    </a:moveTo>
                    <a:lnTo>
                      <a:pt x="156" y="0"/>
                    </a:lnTo>
                    <a:lnTo>
                      <a:pt x="156" y="30"/>
                    </a:lnTo>
                    <a:lnTo>
                      <a:pt x="33" y="30"/>
                    </a:lnTo>
                    <a:lnTo>
                      <a:pt x="33" y="103"/>
                    </a:lnTo>
                    <a:lnTo>
                      <a:pt x="147" y="103"/>
                    </a:lnTo>
                    <a:lnTo>
                      <a:pt x="147" y="133"/>
                    </a:lnTo>
                    <a:lnTo>
                      <a:pt x="33" y="133"/>
                    </a:lnTo>
                    <a:lnTo>
                      <a:pt x="33" y="210"/>
                    </a:lnTo>
                    <a:lnTo>
                      <a:pt x="161" y="210"/>
                    </a:lnTo>
                    <a:lnTo>
                      <a:pt x="161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0"/>
              <p:cNvSpPr>
                <a:spLocks/>
              </p:cNvSpPr>
              <p:nvPr userDrawn="1"/>
            </p:nvSpPr>
            <p:spPr bwMode="auto">
              <a:xfrm>
                <a:off x="6883400" y="4765676"/>
                <a:ext cx="334963" cy="396875"/>
              </a:xfrm>
              <a:custGeom>
                <a:avLst/>
                <a:gdLst>
                  <a:gd name="T0" fmla="*/ 123 w 211"/>
                  <a:gd name="T1" fmla="*/ 0 h 250"/>
                  <a:gd name="T2" fmla="*/ 156 w 211"/>
                  <a:gd name="T3" fmla="*/ 3 h 250"/>
                  <a:gd name="T4" fmla="*/ 184 w 211"/>
                  <a:gd name="T5" fmla="*/ 17 h 250"/>
                  <a:gd name="T6" fmla="*/ 207 w 211"/>
                  <a:gd name="T7" fmla="*/ 38 h 250"/>
                  <a:gd name="T8" fmla="*/ 181 w 211"/>
                  <a:gd name="T9" fmla="*/ 56 h 250"/>
                  <a:gd name="T10" fmla="*/ 165 w 211"/>
                  <a:gd name="T11" fmla="*/ 42 h 250"/>
                  <a:gd name="T12" fmla="*/ 144 w 211"/>
                  <a:gd name="T13" fmla="*/ 33 h 250"/>
                  <a:gd name="T14" fmla="*/ 123 w 211"/>
                  <a:gd name="T15" fmla="*/ 31 h 250"/>
                  <a:gd name="T16" fmla="*/ 93 w 211"/>
                  <a:gd name="T17" fmla="*/ 35 h 250"/>
                  <a:gd name="T18" fmla="*/ 67 w 211"/>
                  <a:gd name="T19" fmla="*/ 49 h 250"/>
                  <a:gd name="T20" fmla="*/ 49 w 211"/>
                  <a:gd name="T21" fmla="*/ 70 h 250"/>
                  <a:gd name="T22" fmla="*/ 37 w 211"/>
                  <a:gd name="T23" fmla="*/ 96 h 250"/>
                  <a:gd name="T24" fmla="*/ 35 w 211"/>
                  <a:gd name="T25" fmla="*/ 126 h 250"/>
                  <a:gd name="T26" fmla="*/ 37 w 211"/>
                  <a:gd name="T27" fmla="*/ 157 h 250"/>
                  <a:gd name="T28" fmla="*/ 49 w 211"/>
                  <a:gd name="T29" fmla="*/ 182 h 250"/>
                  <a:gd name="T30" fmla="*/ 67 w 211"/>
                  <a:gd name="T31" fmla="*/ 201 h 250"/>
                  <a:gd name="T32" fmla="*/ 93 w 211"/>
                  <a:gd name="T33" fmla="*/ 215 h 250"/>
                  <a:gd name="T34" fmla="*/ 123 w 211"/>
                  <a:gd name="T35" fmla="*/ 220 h 250"/>
                  <a:gd name="T36" fmla="*/ 149 w 211"/>
                  <a:gd name="T37" fmla="*/ 217 h 250"/>
                  <a:gd name="T38" fmla="*/ 170 w 211"/>
                  <a:gd name="T39" fmla="*/ 206 h 250"/>
                  <a:gd name="T40" fmla="*/ 186 w 211"/>
                  <a:gd name="T41" fmla="*/ 189 h 250"/>
                  <a:gd name="T42" fmla="*/ 211 w 211"/>
                  <a:gd name="T43" fmla="*/ 208 h 250"/>
                  <a:gd name="T44" fmla="*/ 205 w 211"/>
                  <a:gd name="T45" fmla="*/ 217 h 250"/>
                  <a:gd name="T46" fmla="*/ 193 w 211"/>
                  <a:gd name="T47" fmla="*/ 229 h 250"/>
                  <a:gd name="T48" fmla="*/ 174 w 211"/>
                  <a:gd name="T49" fmla="*/ 238 h 250"/>
                  <a:gd name="T50" fmla="*/ 151 w 211"/>
                  <a:gd name="T51" fmla="*/ 248 h 250"/>
                  <a:gd name="T52" fmla="*/ 121 w 211"/>
                  <a:gd name="T53" fmla="*/ 250 h 250"/>
                  <a:gd name="T54" fmla="*/ 86 w 211"/>
                  <a:gd name="T55" fmla="*/ 245 h 250"/>
                  <a:gd name="T56" fmla="*/ 56 w 211"/>
                  <a:gd name="T57" fmla="*/ 231 h 250"/>
                  <a:gd name="T58" fmla="*/ 32 w 211"/>
                  <a:gd name="T59" fmla="*/ 213 h 250"/>
                  <a:gd name="T60" fmla="*/ 14 w 211"/>
                  <a:gd name="T61" fmla="*/ 187 h 250"/>
                  <a:gd name="T62" fmla="*/ 2 w 211"/>
                  <a:gd name="T63" fmla="*/ 157 h 250"/>
                  <a:gd name="T64" fmla="*/ 0 w 211"/>
                  <a:gd name="T65" fmla="*/ 126 h 250"/>
                  <a:gd name="T66" fmla="*/ 4 w 211"/>
                  <a:gd name="T67" fmla="*/ 84 h 250"/>
                  <a:gd name="T68" fmla="*/ 21 w 211"/>
                  <a:gd name="T69" fmla="*/ 49 h 250"/>
                  <a:gd name="T70" fmla="*/ 49 w 211"/>
                  <a:gd name="T71" fmla="*/ 24 h 250"/>
                  <a:gd name="T72" fmla="*/ 83 w 211"/>
                  <a:gd name="T73" fmla="*/ 5 h 250"/>
                  <a:gd name="T74" fmla="*/ 123 w 211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1" h="250">
                    <a:moveTo>
                      <a:pt x="123" y="0"/>
                    </a:moveTo>
                    <a:lnTo>
                      <a:pt x="156" y="3"/>
                    </a:lnTo>
                    <a:lnTo>
                      <a:pt x="184" y="17"/>
                    </a:lnTo>
                    <a:lnTo>
                      <a:pt x="207" y="38"/>
                    </a:lnTo>
                    <a:lnTo>
                      <a:pt x="181" y="56"/>
                    </a:lnTo>
                    <a:lnTo>
                      <a:pt x="165" y="42"/>
                    </a:lnTo>
                    <a:lnTo>
                      <a:pt x="144" y="33"/>
                    </a:lnTo>
                    <a:lnTo>
                      <a:pt x="123" y="31"/>
                    </a:lnTo>
                    <a:lnTo>
                      <a:pt x="93" y="35"/>
                    </a:lnTo>
                    <a:lnTo>
                      <a:pt x="67" y="49"/>
                    </a:lnTo>
                    <a:lnTo>
                      <a:pt x="49" y="70"/>
                    </a:lnTo>
                    <a:lnTo>
                      <a:pt x="37" y="96"/>
                    </a:lnTo>
                    <a:lnTo>
                      <a:pt x="35" y="126"/>
                    </a:lnTo>
                    <a:lnTo>
                      <a:pt x="37" y="157"/>
                    </a:lnTo>
                    <a:lnTo>
                      <a:pt x="49" y="182"/>
                    </a:lnTo>
                    <a:lnTo>
                      <a:pt x="67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9" y="217"/>
                    </a:lnTo>
                    <a:lnTo>
                      <a:pt x="170" y="206"/>
                    </a:lnTo>
                    <a:lnTo>
                      <a:pt x="186" y="189"/>
                    </a:lnTo>
                    <a:lnTo>
                      <a:pt x="211" y="208"/>
                    </a:lnTo>
                    <a:lnTo>
                      <a:pt x="205" y="217"/>
                    </a:lnTo>
                    <a:lnTo>
                      <a:pt x="193" y="229"/>
                    </a:lnTo>
                    <a:lnTo>
                      <a:pt x="174" y="238"/>
                    </a:lnTo>
                    <a:lnTo>
                      <a:pt x="151" y="248"/>
                    </a:lnTo>
                    <a:lnTo>
                      <a:pt x="121" y="250"/>
                    </a:lnTo>
                    <a:lnTo>
                      <a:pt x="86" y="245"/>
                    </a:lnTo>
                    <a:lnTo>
                      <a:pt x="56" y="231"/>
                    </a:lnTo>
                    <a:lnTo>
                      <a:pt x="32" y="213"/>
                    </a:lnTo>
                    <a:lnTo>
                      <a:pt x="14" y="187"/>
                    </a:lnTo>
                    <a:lnTo>
                      <a:pt x="2" y="157"/>
                    </a:lnTo>
                    <a:lnTo>
                      <a:pt x="0" y="126"/>
                    </a:lnTo>
                    <a:lnTo>
                      <a:pt x="4" y="84"/>
                    </a:lnTo>
                    <a:lnTo>
                      <a:pt x="21" y="49"/>
                    </a:lnTo>
                    <a:lnTo>
                      <a:pt x="49" y="24"/>
                    </a:lnTo>
                    <a:lnTo>
                      <a:pt x="83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1"/>
              <p:cNvSpPr>
                <a:spLocks noEditPoints="1"/>
              </p:cNvSpPr>
              <p:nvPr userDrawn="1"/>
            </p:nvSpPr>
            <p:spPr bwMode="auto">
              <a:xfrm>
                <a:off x="7248525" y="4765676"/>
                <a:ext cx="395288" cy="396875"/>
              </a:xfrm>
              <a:custGeom>
                <a:avLst/>
                <a:gdLst>
                  <a:gd name="T0" fmla="*/ 123 w 249"/>
                  <a:gd name="T1" fmla="*/ 31 h 250"/>
                  <a:gd name="T2" fmla="*/ 93 w 249"/>
                  <a:gd name="T3" fmla="*/ 35 h 250"/>
                  <a:gd name="T4" fmla="*/ 70 w 249"/>
                  <a:gd name="T5" fmla="*/ 49 h 250"/>
                  <a:gd name="T6" fmla="*/ 49 w 249"/>
                  <a:gd name="T7" fmla="*/ 68 h 250"/>
                  <a:gd name="T8" fmla="*/ 37 w 249"/>
                  <a:gd name="T9" fmla="*/ 96 h 250"/>
                  <a:gd name="T10" fmla="*/ 35 w 249"/>
                  <a:gd name="T11" fmla="*/ 124 h 250"/>
                  <a:gd name="T12" fmla="*/ 37 w 249"/>
                  <a:gd name="T13" fmla="*/ 154 h 250"/>
                  <a:gd name="T14" fmla="*/ 49 w 249"/>
                  <a:gd name="T15" fmla="*/ 182 h 250"/>
                  <a:gd name="T16" fmla="*/ 70 w 249"/>
                  <a:gd name="T17" fmla="*/ 201 h 250"/>
                  <a:gd name="T18" fmla="*/ 93 w 249"/>
                  <a:gd name="T19" fmla="*/ 215 h 250"/>
                  <a:gd name="T20" fmla="*/ 123 w 249"/>
                  <a:gd name="T21" fmla="*/ 220 h 250"/>
                  <a:gd name="T22" fmla="*/ 154 w 249"/>
                  <a:gd name="T23" fmla="*/ 215 h 250"/>
                  <a:gd name="T24" fmla="*/ 179 w 249"/>
                  <a:gd name="T25" fmla="*/ 201 h 250"/>
                  <a:gd name="T26" fmla="*/ 198 w 249"/>
                  <a:gd name="T27" fmla="*/ 182 h 250"/>
                  <a:gd name="T28" fmla="*/ 210 w 249"/>
                  <a:gd name="T29" fmla="*/ 154 h 250"/>
                  <a:gd name="T30" fmla="*/ 214 w 249"/>
                  <a:gd name="T31" fmla="*/ 124 h 250"/>
                  <a:gd name="T32" fmla="*/ 210 w 249"/>
                  <a:gd name="T33" fmla="*/ 96 h 250"/>
                  <a:gd name="T34" fmla="*/ 198 w 249"/>
                  <a:gd name="T35" fmla="*/ 68 h 250"/>
                  <a:gd name="T36" fmla="*/ 179 w 249"/>
                  <a:gd name="T37" fmla="*/ 49 h 250"/>
                  <a:gd name="T38" fmla="*/ 154 w 249"/>
                  <a:gd name="T39" fmla="*/ 35 h 250"/>
                  <a:gd name="T40" fmla="*/ 123 w 249"/>
                  <a:gd name="T41" fmla="*/ 31 h 250"/>
                  <a:gd name="T42" fmla="*/ 123 w 249"/>
                  <a:gd name="T43" fmla="*/ 0 h 250"/>
                  <a:gd name="T44" fmla="*/ 165 w 249"/>
                  <a:gd name="T45" fmla="*/ 5 h 250"/>
                  <a:gd name="T46" fmla="*/ 200 w 249"/>
                  <a:gd name="T47" fmla="*/ 24 h 250"/>
                  <a:gd name="T48" fmla="*/ 226 w 249"/>
                  <a:gd name="T49" fmla="*/ 49 h 250"/>
                  <a:gd name="T50" fmla="*/ 242 w 249"/>
                  <a:gd name="T51" fmla="*/ 84 h 250"/>
                  <a:gd name="T52" fmla="*/ 249 w 249"/>
                  <a:gd name="T53" fmla="*/ 124 h 250"/>
                  <a:gd name="T54" fmla="*/ 242 w 249"/>
                  <a:gd name="T55" fmla="*/ 166 h 250"/>
                  <a:gd name="T56" fmla="*/ 226 w 249"/>
                  <a:gd name="T57" fmla="*/ 201 h 250"/>
                  <a:gd name="T58" fmla="*/ 200 w 249"/>
                  <a:gd name="T59" fmla="*/ 227 h 250"/>
                  <a:gd name="T60" fmla="*/ 165 w 249"/>
                  <a:gd name="T61" fmla="*/ 245 h 250"/>
                  <a:gd name="T62" fmla="*/ 123 w 249"/>
                  <a:gd name="T63" fmla="*/ 250 h 250"/>
                  <a:gd name="T64" fmla="*/ 84 w 249"/>
                  <a:gd name="T65" fmla="*/ 245 h 250"/>
                  <a:gd name="T66" fmla="*/ 49 w 249"/>
                  <a:gd name="T67" fmla="*/ 227 h 250"/>
                  <a:gd name="T68" fmla="*/ 23 w 249"/>
                  <a:gd name="T69" fmla="*/ 201 h 250"/>
                  <a:gd name="T70" fmla="*/ 5 w 249"/>
                  <a:gd name="T71" fmla="*/ 166 h 250"/>
                  <a:gd name="T72" fmla="*/ 0 w 249"/>
                  <a:gd name="T73" fmla="*/ 124 h 250"/>
                  <a:gd name="T74" fmla="*/ 5 w 249"/>
                  <a:gd name="T75" fmla="*/ 84 h 250"/>
                  <a:gd name="T76" fmla="*/ 23 w 249"/>
                  <a:gd name="T77" fmla="*/ 49 h 250"/>
                  <a:gd name="T78" fmla="*/ 49 w 249"/>
                  <a:gd name="T79" fmla="*/ 24 h 250"/>
                  <a:gd name="T80" fmla="*/ 84 w 249"/>
                  <a:gd name="T81" fmla="*/ 5 h 250"/>
                  <a:gd name="T82" fmla="*/ 123 w 249"/>
                  <a:gd name="T83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0">
                    <a:moveTo>
                      <a:pt x="123" y="31"/>
                    </a:moveTo>
                    <a:lnTo>
                      <a:pt x="93" y="35"/>
                    </a:lnTo>
                    <a:lnTo>
                      <a:pt x="70" y="49"/>
                    </a:lnTo>
                    <a:lnTo>
                      <a:pt x="49" y="68"/>
                    </a:lnTo>
                    <a:lnTo>
                      <a:pt x="37" y="96"/>
                    </a:lnTo>
                    <a:lnTo>
                      <a:pt x="35" y="124"/>
                    </a:lnTo>
                    <a:lnTo>
                      <a:pt x="37" y="154"/>
                    </a:lnTo>
                    <a:lnTo>
                      <a:pt x="49" y="182"/>
                    </a:lnTo>
                    <a:lnTo>
                      <a:pt x="70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54" y="215"/>
                    </a:lnTo>
                    <a:lnTo>
                      <a:pt x="179" y="201"/>
                    </a:lnTo>
                    <a:lnTo>
                      <a:pt x="198" y="182"/>
                    </a:lnTo>
                    <a:lnTo>
                      <a:pt x="210" y="154"/>
                    </a:lnTo>
                    <a:lnTo>
                      <a:pt x="214" y="124"/>
                    </a:lnTo>
                    <a:lnTo>
                      <a:pt x="210" y="96"/>
                    </a:lnTo>
                    <a:lnTo>
                      <a:pt x="198" y="68"/>
                    </a:lnTo>
                    <a:lnTo>
                      <a:pt x="179" y="49"/>
                    </a:lnTo>
                    <a:lnTo>
                      <a:pt x="154" y="35"/>
                    </a:lnTo>
                    <a:lnTo>
                      <a:pt x="123" y="31"/>
                    </a:lnTo>
                    <a:close/>
                    <a:moveTo>
                      <a:pt x="123" y="0"/>
                    </a:moveTo>
                    <a:lnTo>
                      <a:pt x="165" y="5"/>
                    </a:lnTo>
                    <a:lnTo>
                      <a:pt x="200" y="24"/>
                    </a:lnTo>
                    <a:lnTo>
                      <a:pt x="226" y="49"/>
                    </a:lnTo>
                    <a:lnTo>
                      <a:pt x="242" y="84"/>
                    </a:lnTo>
                    <a:lnTo>
                      <a:pt x="249" y="124"/>
                    </a:lnTo>
                    <a:lnTo>
                      <a:pt x="242" y="166"/>
                    </a:lnTo>
                    <a:lnTo>
                      <a:pt x="226" y="201"/>
                    </a:lnTo>
                    <a:lnTo>
                      <a:pt x="200" y="227"/>
                    </a:lnTo>
                    <a:lnTo>
                      <a:pt x="165" y="245"/>
                    </a:lnTo>
                    <a:lnTo>
                      <a:pt x="123" y="250"/>
                    </a:lnTo>
                    <a:lnTo>
                      <a:pt x="84" y="245"/>
                    </a:lnTo>
                    <a:lnTo>
                      <a:pt x="49" y="227"/>
                    </a:lnTo>
                    <a:lnTo>
                      <a:pt x="23" y="201"/>
                    </a:lnTo>
                    <a:lnTo>
                      <a:pt x="5" y="166"/>
                    </a:lnTo>
                    <a:lnTo>
                      <a:pt x="0" y="124"/>
                    </a:lnTo>
                    <a:lnTo>
                      <a:pt x="5" y="84"/>
                    </a:lnTo>
                    <a:lnTo>
                      <a:pt x="23" y="49"/>
                    </a:lnTo>
                    <a:lnTo>
                      <a:pt x="49" y="24"/>
                    </a:lnTo>
                    <a:lnTo>
                      <a:pt x="84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"/>
              <p:cNvSpPr>
                <a:spLocks/>
              </p:cNvSpPr>
              <p:nvPr userDrawn="1"/>
            </p:nvSpPr>
            <p:spPr bwMode="auto">
              <a:xfrm>
                <a:off x="7718425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2 w 207"/>
                  <a:gd name="T5" fmla="*/ 198 h 240"/>
                  <a:gd name="T6" fmla="*/ 174 w 207"/>
                  <a:gd name="T7" fmla="*/ 198 h 240"/>
                  <a:gd name="T8" fmla="*/ 174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5 w 207"/>
                  <a:gd name="T15" fmla="*/ 240 h 240"/>
                  <a:gd name="T16" fmla="*/ 32 w 207"/>
                  <a:gd name="T17" fmla="*/ 42 h 240"/>
                  <a:gd name="T18" fmla="*/ 32 w 207"/>
                  <a:gd name="T19" fmla="*/ 42 h 240"/>
                  <a:gd name="T20" fmla="*/ 32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2" y="198"/>
                    </a:lnTo>
                    <a:lnTo>
                      <a:pt x="174" y="198"/>
                    </a:lnTo>
                    <a:lnTo>
                      <a:pt x="174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5" y="240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2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"/>
              <p:cNvSpPr>
                <a:spLocks/>
              </p:cNvSpPr>
              <p:nvPr userDrawn="1"/>
            </p:nvSpPr>
            <p:spPr bwMode="auto">
              <a:xfrm>
                <a:off x="8131175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5 w 207"/>
                  <a:gd name="T5" fmla="*/ 198 h 240"/>
                  <a:gd name="T6" fmla="*/ 175 w 207"/>
                  <a:gd name="T7" fmla="*/ 198 h 240"/>
                  <a:gd name="T8" fmla="*/ 175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6 w 207"/>
                  <a:gd name="T15" fmla="*/ 240 h 240"/>
                  <a:gd name="T16" fmla="*/ 33 w 207"/>
                  <a:gd name="T17" fmla="*/ 42 h 240"/>
                  <a:gd name="T18" fmla="*/ 33 w 207"/>
                  <a:gd name="T19" fmla="*/ 42 h 240"/>
                  <a:gd name="T20" fmla="*/ 33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5" y="198"/>
                    </a:lnTo>
                    <a:lnTo>
                      <a:pt x="175" y="198"/>
                    </a:lnTo>
                    <a:lnTo>
                      <a:pt x="175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6" y="240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4"/>
              <p:cNvSpPr>
                <a:spLocks/>
              </p:cNvSpPr>
              <p:nvPr userDrawn="1"/>
            </p:nvSpPr>
            <p:spPr bwMode="auto">
              <a:xfrm>
                <a:off x="8559800" y="4773613"/>
                <a:ext cx="252413" cy="381000"/>
              </a:xfrm>
              <a:custGeom>
                <a:avLst/>
                <a:gdLst>
                  <a:gd name="T0" fmla="*/ 0 w 159"/>
                  <a:gd name="T1" fmla="*/ 0 h 240"/>
                  <a:gd name="T2" fmla="*/ 154 w 159"/>
                  <a:gd name="T3" fmla="*/ 0 h 240"/>
                  <a:gd name="T4" fmla="*/ 154 w 159"/>
                  <a:gd name="T5" fmla="*/ 30 h 240"/>
                  <a:gd name="T6" fmla="*/ 31 w 159"/>
                  <a:gd name="T7" fmla="*/ 30 h 240"/>
                  <a:gd name="T8" fmla="*/ 31 w 159"/>
                  <a:gd name="T9" fmla="*/ 103 h 240"/>
                  <a:gd name="T10" fmla="*/ 145 w 159"/>
                  <a:gd name="T11" fmla="*/ 103 h 240"/>
                  <a:gd name="T12" fmla="*/ 145 w 159"/>
                  <a:gd name="T13" fmla="*/ 133 h 240"/>
                  <a:gd name="T14" fmla="*/ 31 w 159"/>
                  <a:gd name="T15" fmla="*/ 133 h 240"/>
                  <a:gd name="T16" fmla="*/ 31 w 159"/>
                  <a:gd name="T17" fmla="*/ 210 h 240"/>
                  <a:gd name="T18" fmla="*/ 159 w 159"/>
                  <a:gd name="T19" fmla="*/ 210 h 240"/>
                  <a:gd name="T20" fmla="*/ 159 w 159"/>
                  <a:gd name="T21" fmla="*/ 240 h 240"/>
                  <a:gd name="T22" fmla="*/ 0 w 159"/>
                  <a:gd name="T23" fmla="*/ 240 h 240"/>
                  <a:gd name="T24" fmla="*/ 0 w 159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9" h="240">
                    <a:moveTo>
                      <a:pt x="0" y="0"/>
                    </a:moveTo>
                    <a:lnTo>
                      <a:pt x="154" y="0"/>
                    </a:lnTo>
                    <a:lnTo>
                      <a:pt x="154" y="30"/>
                    </a:lnTo>
                    <a:lnTo>
                      <a:pt x="31" y="30"/>
                    </a:lnTo>
                    <a:lnTo>
                      <a:pt x="31" y="103"/>
                    </a:lnTo>
                    <a:lnTo>
                      <a:pt x="145" y="103"/>
                    </a:lnTo>
                    <a:lnTo>
                      <a:pt x="145" y="133"/>
                    </a:lnTo>
                    <a:lnTo>
                      <a:pt x="31" y="133"/>
                    </a:lnTo>
                    <a:lnTo>
                      <a:pt x="31" y="210"/>
                    </a:lnTo>
                    <a:lnTo>
                      <a:pt x="159" y="210"/>
                    </a:lnTo>
                    <a:lnTo>
                      <a:pt x="159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5"/>
              <p:cNvSpPr>
                <a:spLocks/>
              </p:cNvSpPr>
              <p:nvPr userDrawn="1"/>
            </p:nvSpPr>
            <p:spPr bwMode="auto">
              <a:xfrm>
                <a:off x="8863013" y="4765676"/>
                <a:ext cx="336550" cy="396875"/>
              </a:xfrm>
              <a:custGeom>
                <a:avLst/>
                <a:gdLst>
                  <a:gd name="T0" fmla="*/ 123 w 212"/>
                  <a:gd name="T1" fmla="*/ 0 h 250"/>
                  <a:gd name="T2" fmla="*/ 156 w 212"/>
                  <a:gd name="T3" fmla="*/ 3 h 250"/>
                  <a:gd name="T4" fmla="*/ 184 w 212"/>
                  <a:gd name="T5" fmla="*/ 17 h 250"/>
                  <a:gd name="T6" fmla="*/ 207 w 212"/>
                  <a:gd name="T7" fmla="*/ 38 h 250"/>
                  <a:gd name="T8" fmla="*/ 179 w 212"/>
                  <a:gd name="T9" fmla="*/ 56 h 250"/>
                  <a:gd name="T10" fmla="*/ 165 w 212"/>
                  <a:gd name="T11" fmla="*/ 42 h 250"/>
                  <a:gd name="T12" fmla="*/ 144 w 212"/>
                  <a:gd name="T13" fmla="*/ 33 h 250"/>
                  <a:gd name="T14" fmla="*/ 123 w 212"/>
                  <a:gd name="T15" fmla="*/ 31 h 250"/>
                  <a:gd name="T16" fmla="*/ 93 w 212"/>
                  <a:gd name="T17" fmla="*/ 35 h 250"/>
                  <a:gd name="T18" fmla="*/ 68 w 212"/>
                  <a:gd name="T19" fmla="*/ 49 h 250"/>
                  <a:gd name="T20" fmla="*/ 49 w 212"/>
                  <a:gd name="T21" fmla="*/ 70 h 250"/>
                  <a:gd name="T22" fmla="*/ 37 w 212"/>
                  <a:gd name="T23" fmla="*/ 96 h 250"/>
                  <a:gd name="T24" fmla="*/ 33 w 212"/>
                  <a:gd name="T25" fmla="*/ 126 h 250"/>
                  <a:gd name="T26" fmla="*/ 37 w 212"/>
                  <a:gd name="T27" fmla="*/ 157 h 250"/>
                  <a:gd name="T28" fmla="*/ 49 w 212"/>
                  <a:gd name="T29" fmla="*/ 182 h 250"/>
                  <a:gd name="T30" fmla="*/ 68 w 212"/>
                  <a:gd name="T31" fmla="*/ 201 h 250"/>
                  <a:gd name="T32" fmla="*/ 93 w 212"/>
                  <a:gd name="T33" fmla="*/ 215 h 250"/>
                  <a:gd name="T34" fmla="*/ 123 w 212"/>
                  <a:gd name="T35" fmla="*/ 220 h 250"/>
                  <a:gd name="T36" fmla="*/ 147 w 212"/>
                  <a:gd name="T37" fmla="*/ 217 h 250"/>
                  <a:gd name="T38" fmla="*/ 168 w 212"/>
                  <a:gd name="T39" fmla="*/ 206 h 250"/>
                  <a:gd name="T40" fmla="*/ 184 w 212"/>
                  <a:gd name="T41" fmla="*/ 189 h 250"/>
                  <a:gd name="T42" fmla="*/ 212 w 212"/>
                  <a:gd name="T43" fmla="*/ 208 h 250"/>
                  <a:gd name="T44" fmla="*/ 205 w 212"/>
                  <a:gd name="T45" fmla="*/ 217 h 250"/>
                  <a:gd name="T46" fmla="*/ 193 w 212"/>
                  <a:gd name="T47" fmla="*/ 229 h 250"/>
                  <a:gd name="T48" fmla="*/ 175 w 212"/>
                  <a:gd name="T49" fmla="*/ 238 h 250"/>
                  <a:gd name="T50" fmla="*/ 151 w 212"/>
                  <a:gd name="T51" fmla="*/ 248 h 250"/>
                  <a:gd name="T52" fmla="*/ 121 w 212"/>
                  <a:gd name="T53" fmla="*/ 250 h 250"/>
                  <a:gd name="T54" fmla="*/ 86 w 212"/>
                  <a:gd name="T55" fmla="*/ 245 h 250"/>
                  <a:gd name="T56" fmla="*/ 56 w 212"/>
                  <a:gd name="T57" fmla="*/ 231 h 250"/>
                  <a:gd name="T58" fmla="*/ 33 w 212"/>
                  <a:gd name="T59" fmla="*/ 213 h 250"/>
                  <a:gd name="T60" fmla="*/ 14 w 212"/>
                  <a:gd name="T61" fmla="*/ 187 h 250"/>
                  <a:gd name="T62" fmla="*/ 2 w 212"/>
                  <a:gd name="T63" fmla="*/ 157 h 250"/>
                  <a:gd name="T64" fmla="*/ 0 w 212"/>
                  <a:gd name="T65" fmla="*/ 126 h 250"/>
                  <a:gd name="T66" fmla="*/ 5 w 212"/>
                  <a:gd name="T67" fmla="*/ 84 h 250"/>
                  <a:gd name="T68" fmla="*/ 21 w 212"/>
                  <a:gd name="T69" fmla="*/ 49 h 250"/>
                  <a:gd name="T70" fmla="*/ 49 w 212"/>
                  <a:gd name="T71" fmla="*/ 24 h 250"/>
                  <a:gd name="T72" fmla="*/ 82 w 212"/>
                  <a:gd name="T73" fmla="*/ 5 h 250"/>
                  <a:gd name="T74" fmla="*/ 123 w 212"/>
                  <a:gd name="T7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2" h="250">
                    <a:moveTo>
                      <a:pt x="123" y="0"/>
                    </a:moveTo>
                    <a:lnTo>
                      <a:pt x="156" y="3"/>
                    </a:lnTo>
                    <a:lnTo>
                      <a:pt x="184" y="17"/>
                    </a:lnTo>
                    <a:lnTo>
                      <a:pt x="207" y="38"/>
                    </a:lnTo>
                    <a:lnTo>
                      <a:pt x="179" y="56"/>
                    </a:lnTo>
                    <a:lnTo>
                      <a:pt x="165" y="42"/>
                    </a:lnTo>
                    <a:lnTo>
                      <a:pt x="144" y="33"/>
                    </a:lnTo>
                    <a:lnTo>
                      <a:pt x="123" y="31"/>
                    </a:lnTo>
                    <a:lnTo>
                      <a:pt x="93" y="35"/>
                    </a:lnTo>
                    <a:lnTo>
                      <a:pt x="68" y="49"/>
                    </a:lnTo>
                    <a:lnTo>
                      <a:pt x="49" y="70"/>
                    </a:lnTo>
                    <a:lnTo>
                      <a:pt x="37" y="96"/>
                    </a:lnTo>
                    <a:lnTo>
                      <a:pt x="33" y="126"/>
                    </a:lnTo>
                    <a:lnTo>
                      <a:pt x="37" y="157"/>
                    </a:lnTo>
                    <a:lnTo>
                      <a:pt x="49" y="182"/>
                    </a:lnTo>
                    <a:lnTo>
                      <a:pt x="68" y="201"/>
                    </a:lnTo>
                    <a:lnTo>
                      <a:pt x="93" y="215"/>
                    </a:lnTo>
                    <a:lnTo>
                      <a:pt x="123" y="220"/>
                    </a:lnTo>
                    <a:lnTo>
                      <a:pt x="147" y="217"/>
                    </a:lnTo>
                    <a:lnTo>
                      <a:pt x="168" y="206"/>
                    </a:lnTo>
                    <a:lnTo>
                      <a:pt x="184" y="189"/>
                    </a:lnTo>
                    <a:lnTo>
                      <a:pt x="212" y="208"/>
                    </a:lnTo>
                    <a:lnTo>
                      <a:pt x="205" y="217"/>
                    </a:lnTo>
                    <a:lnTo>
                      <a:pt x="193" y="229"/>
                    </a:lnTo>
                    <a:lnTo>
                      <a:pt x="175" y="238"/>
                    </a:lnTo>
                    <a:lnTo>
                      <a:pt x="151" y="248"/>
                    </a:lnTo>
                    <a:lnTo>
                      <a:pt x="121" y="250"/>
                    </a:lnTo>
                    <a:lnTo>
                      <a:pt x="86" y="245"/>
                    </a:lnTo>
                    <a:lnTo>
                      <a:pt x="56" y="231"/>
                    </a:lnTo>
                    <a:lnTo>
                      <a:pt x="33" y="213"/>
                    </a:lnTo>
                    <a:lnTo>
                      <a:pt x="14" y="187"/>
                    </a:lnTo>
                    <a:lnTo>
                      <a:pt x="2" y="157"/>
                    </a:lnTo>
                    <a:lnTo>
                      <a:pt x="0" y="126"/>
                    </a:lnTo>
                    <a:lnTo>
                      <a:pt x="5" y="84"/>
                    </a:lnTo>
                    <a:lnTo>
                      <a:pt x="21" y="49"/>
                    </a:lnTo>
                    <a:lnTo>
                      <a:pt x="49" y="24"/>
                    </a:lnTo>
                    <a:lnTo>
                      <a:pt x="82" y="5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6"/>
              <p:cNvSpPr>
                <a:spLocks/>
              </p:cNvSpPr>
              <p:nvPr userDrawn="1"/>
            </p:nvSpPr>
            <p:spPr bwMode="auto">
              <a:xfrm>
                <a:off x="9218613" y="4773613"/>
                <a:ext cx="295275" cy="381000"/>
              </a:xfrm>
              <a:custGeom>
                <a:avLst/>
                <a:gdLst>
                  <a:gd name="T0" fmla="*/ 0 w 186"/>
                  <a:gd name="T1" fmla="*/ 0 h 240"/>
                  <a:gd name="T2" fmla="*/ 186 w 186"/>
                  <a:gd name="T3" fmla="*/ 0 h 240"/>
                  <a:gd name="T4" fmla="*/ 186 w 186"/>
                  <a:gd name="T5" fmla="*/ 30 h 240"/>
                  <a:gd name="T6" fmla="*/ 109 w 186"/>
                  <a:gd name="T7" fmla="*/ 30 h 240"/>
                  <a:gd name="T8" fmla="*/ 109 w 186"/>
                  <a:gd name="T9" fmla="*/ 240 h 240"/>
                  <a:gd name="T10" fmla="*/ 76 w 186"/>
                  <a:gd name="T11" fmla="*/ 240 h 240"/>
                  <a:gd name="T12" fmla="*/ 76 w 186"/>
                  <a:gd name="T13" fmla="*/ 30 h 240"/>
                  <a:gd name="T14" fmla="*/ 0 w 186"/>
                  <a:gd name="T15" fmla="*/ 30 h 240"/>
                  <a:gd name="T16" fmla="*/ 0 w 186"/>
                  <a:gd name="T17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240">
                    <a:moveTo>
                      <a:pt x="0" y="0"/>
                    </a:moveTo>
                    <a:lnTo>
                      <a:pt x="186" y="0"/>
                    </a:lnTo>
                    <a:lnTo>
                      <a:pt x="186" y="30"/>
                    </a:lnTo>
                    <a:lnTo>
                      <a:pt x="109" y="30"/>
                    </a:lnTo>
                    <a:lnTo>
                      <a:pt x="109" y="240"/>
                    </a:lnTo>
                    <a:lnTo>
                      <a:pt x="76" y="240"/>
                    </a:lnTo>
                    <a:lnTo>
                      <a:pt x="76" y="30"/>
                    </a:ln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7"/>
              <p:cNvSpPr>
                <a:spLocks noChangeArrowheads="1"/>
              </p:cNvSpPr>
              <p:nvPr userDrawn="1"/>
            </p:nvSpPr>
            <p:spPr bwMode="auto">
              <a:xfrm>
                <a:off x="9569450" y="4773613"/>
                <a:ext cx="50800" cy="381000"/>
              </a:xfrm>
              <a:prstGeom prst="rect">
                <a:avLst/>
              </a:prstGeom>
              <a:solidFill>
                <a:srgbClr val="00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"/>
              <p:cNvSpPr>
                <a:spLocks noEditPoints="1"/>
              </p:cNvSpPr>
              <p:nvPr userDrawn="1"/>
            </p:nvSpPr>
            <p:spPr bwMode="auto">
              <a:xfrm>
                <a:off x="9683750" y="4765676"/>
                <a:ext cx="395288" cy="396875"/>
              </a:xfrm>
              <a:custGeom>
                <a:avLst/>
                <a:gdLst>
                  <a:gd name="T0" fmla="*/ 125 w 249"/>
                  <a:gd name="T1" fmla="*/ 31 h 250"/>
                  <a:gd name="T2" fmla="*/ 95 w 249"/>
                  <a:gd name="T3" fmla="*/ 35 h 250"/>
                  <a:gd name="T4" fmla="*/ 70 w 249"/>
                  <a:gd name="T5" fmla="*/ 49 h 250"/>
                  <a:gd name="T6" fmla="*/ 51 w 249"/>
                  <a:gd name="T7" fmla="*/ 68 h 250"/>
                  <a:gd name="T8" fmla="*/ 39 w 249"/>
                  <a:gd name="T9" fmla="*/ 96 h 250"/>
                  <a:gd name="T10" fmla="*/ 35 w 249"/>
                  <a:gd name="T11" fmla="*/ 124 h 250"/>
                  <a:gd name="T12" fmla="*/ 39 w 249"/>
                  <a:gd name="T13" fmla="*/ 154 h 250"/>
                  <a:gd name="T14" fmla="*/ 51 w 249"/>
                  <a:gd name="T15" fmla="*/ 182 h 250"/>
                  <a:gd name="T16" fmla="*/ 70 w 249"/>
                  <a:gd name="T17" fmla="*/ 201 h 250"/>
                  <a:gd name="T18" fmla="*/ 95 w 249"/>
                  <a:gd name="T19" fmla="*/ 215 h 250"/>
                  <a:gd name="T20" fmla="*/ 125 w 249"/>
                  <a:gd name="T21" fmla="*/ 220 h 250"/>
                  <a:gd name="T22" fmla="*/ 156 w 249"/>
                  <a:gd name="T23" fmla="*/ 215 h 250"/>
                  <a:gd name="T24" fmla="*/ 179 w 249"/>
                  <a:gd name="T25" fmla="*/ 201 h 250"/>
                  <a:gd name="T26" fmla="*/ 198 w 249"/>
                  <a:gd name="T27" fmla="*/ 182 h 250"/>
                  <a:gd name="T28" fmla="*/ 212 w 249"/>
                  <a:gd name="T29" fmla="*/ 154 h 250"/>
                  <a:gd name="T30" fmla="*/ 214 w 249"/>
                  <a:gd name="T31" fmla="*/ 124 h 250"/>
                  <a:gd name="T32" fmla="*/ 212 w 249"/>
                  <a:gd name="T33" fmla="*/ 96 h 250"/>
                  <a:gd name="T34" fmla="*/ 198 w 249"/>
                  <a:gd name="T35" fmla="*/ 68 h 250"/>
                  <a:gd name="T36" fmla="*/ 179 w 249"/>
                  <a:gd name="T37" fmla="*/ 49 h 250"/>
                  <a:gd name="T38" fmla="*/ 156 w 249"/>
                  <a:gd name="T39" fmla="*/ 35 h 250"/>
                  <a:gd name="T40" fmla="*/ 125 w 249"/>
                  <a:gd name="T41" fmla="*/ 31 h 250"/>
                  <a:gd name="T42" fmla="*/ 125 w 249"/>
                  <a:gd name="T43" fmla="*/ 0 h 250"/>
                  <a:gd name="T44" fmla="*/ 165 w 249"/>
                  <a:gd name="T45" fmla="*/ 5 h 250"/>
                  <a:gd name="T46" fmla="*/ 200 w 249"/>
                  <a:gd name="T47" fmla="*/ 24 h 250"/>
                  <a:gd name="T48" fmla="*/ 226 w 249"/>
                  <a:gd name="T49" fmla="*/ 49 h 250"/>
                  <a:gd name="T50" fmla="*/ 244 w 249"/>
                  <a:gd name="T51" fmla="*/ 84 h 250"/>
                  <a:gd name="T52" fmla="*/ 249 w 249"/>
                  <a:gd name="T53" fmla="*/ 124 h 250"/>
                  <a:gd name="T54" fmla="*/ 244 w 249"/>
                  <a:gd name="T55" fmla="*/ 166 h 250"/>
                  <a:gd name="T56" fmla="*/ 226 w 249"/>
                  <a:gd name="T57" fmla="*/ 201 h 250"/>
                  <a:gd name="T58" fmla="*/ 200 w 249"/>
                  <a:gd name="T59" fmla="*/ 227 h 250"/>
                  <a:gd name="T60" fmla="*/ 165 w 249"/>
                  <a:gd name="T61" fmla="*/ 245 h 250"/>
                  <a:gd name="T62" fmla="*/ 125 w 249"/>
                  <a:gd name="T63" fmla="*/ 250 h 250"/>
                  <a:gd name="T64" fmla="*/ 84 w 249"/>
                  <a:gd name="T65" fmla="*/ 245 h 250"/>
                  <a:gd name="T66" fmla="*/ 49 w 249"/>
                  <a:gd name="T67" fmla="*/ 227 h 250"/>
                  <a:gd name="T68" fmla="*/ 23 w 249"/>
                  <a:gd name="T69" fmla="*/ 201 h 250"/>
                  <a:gd name="T70" fmla="*/ 7 w 249"/>
                  <a:gd name="T71" fmla="*/ 166 h 250"/>
                  <a:gd name="T72" fmla="*/ 0 w 249"/>
                  <a:gd name="T73" fmla="*/ 124 h 250"/>
                  <a:gd name="T74" fmla="*/ 7 w 249"/>
                  <a:gd name="T75" fmla="*/ 84 h 250"/>
                  <a:gd name="T76" fmla="*/ 23 w 249"/>
                  <a:gd name="T77" fmla="*/ 49 h 250"/>
                  <a:gd name="T78" fmla="*/ 49 w 249"/>
                  <a:gd name="T79" fmla="*/ 24 h 250"/>
                  <a:gd name="T80" fmla="*/ 84 w 249"/>
                  <a:gd name="T81" fmla="*/ 5 h 250"/>
                  <a:gd name="T82" fmla="*/ 125 w 249"/>
                  <a:gd name="T83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0">
                    <a:moveTo>
                      <a:pt x="125" y="31"/>
                    </a:moveTo>
                    <a:lnTo>
                      <a:pt x="95" y="35"/>
                    </a:lnTo>
                    <a:lnTo>
                      <a:pt x="70" y="49"/>
                    </a:lnTo>
                    <a:lnTo>
                      <a:pt x="51" y="68"/>
                    </a:lnTo>
                    <a:lnTo>
                      <a:pt x="39" y="96"/>
                    </a:lnTo>
                    <a:lnTo>
                      <a:pt x="35" y="124"/>
                    </a:lnTo>
                    <a:lnTo>
                      <a:pt x="39" y="154"/>
                    </a:lnTo>
                    <a:lnTo>
                      <a:pt x="51" y="182"/>
                    </a:lnTo>
                    <a:lnTo>
                      <a:pt x="70" y="201"/>
                    </a:lnTo>
                    <a:lnTo>
                      <a:pt x="95" y="215"/>
                    </a:lnTo>
                    <a:lnTo>
                      <a:pt x="125" y="220"/>
                    </a:lnTo>
                    <a:lnTo>
                      <a:pt x="156" y="215"/>
                    </a:lnTo>
                    <a:lnTo>
                      <a:pt x="179" y="201"/>
                    </a:lnTo>
                    <a:lnTo>
                      <a:pt x="198" y="182"/>
                    </a:lnTo>
                    <a:lnTo>
                      <a:pt x="212" y="154"/>
                    </a:lnTo>
                    <a:lnTo>
                      <a:pt x="214" y="124"/>
                    </a:lnTo>
                    <a:lnTo>
                      <a:pt x="212" y="96"/>
                    </a:lnTo>
                    <a:lnTo>
                      <a:pt x="198" y="68"/>
                    </a:lnTo>
                    <a:lnTo>
                      <a:pt x="179" y="49"/>
                    </a:lnTo>
                    <a:lnTo>
                      <a:pt x="156" y="35"/>
                    </a:lnTo>
                    <a:lnTo>
                      <a:pt x="125" y="31"/>
                    </a:lnTo>
                    <a:close/>
                    <a:moveTo>
                      <a:pt x="125" y="0"/>
                    </a:moveTo>
                    <a:lnTo>
                      <a:pt x="165" y="5"/>
                    </a:lnTo>
                    <a:lnTo>
                      <a:pt x="200" y="24"/>
                    </a:lnTo>
                    <a:lnTo>
                      <a:pt x="226" y="49"/>
                    </a:lnTo>
                    <a:lnTo>
                      <a:pt x="244" y="84"/>
                    </a:lnTo>
                    <a:lnTo>
                      <a:pt x="249" y="124"/>
                    </a:lnTo>
                    <a:lnTo>
                      <a:pt x="244" y="166"/>
                    </a:lnTo>
                    <a:lnTo>
                      <a:pt x="226" y="201"/>
                    </a:lnTo>
                    <a:lnTo>
                      <a:pt x="200" y="227"/>
                    </a:lnTo>
                    <a:lnTo>
                      <a:pt x="165" y="245"/>
                    </a:lnTo>
                    <a:lnTo>
                      <a:pt x="125" y="250"/>
                    </a:lnTo>
                    <a:lnTo>
                      <a:pt x="84" y="245"/>
                    </a:lnTo>
                    <a:lnTo>
                      <a:pt x="49" y="227"/>
                    </a:lnTo>
                    <a:lnTo>
                      <a:pt x="23" y="201"/>
                    </a:lnTo>
                    <a:lnTo>
                      <a:pt x="7" y="166"/>
                    </a:lnTo>
                    <a:lnTo>
                      <a:pt x="0" y="124"/>
                    </a:lnTo>
                    <a:lnTo>
                      <a:pt x="7" y="84"/>
                    </a:lnTo>
                    <a:lnTo>
                      <a:pt x="23" y="49"/>
                    </a:lnTo>
                    <a:lnTo>
                      <a:pt x="49" y="24"/>
                    </a:lnTo>
                    <a:lnTo>
                      <a:pt x="84" y="5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9"/>
              <p:cNvSpPr>
                <a:spLocks/>
              </p:cNvSpPr>
              <p:nvPr userDrawn="1"/>
            </p:nvSpPr>
            <p:spPr bwMode="auto">
              <a:xfrm>
                <a:off x="10152063" y="4773613"/>
                <a:ext cx="328613" cy="381000"/>
              </a:xfrm>
              <a:custGeom>
                <a:avLst/>
                <a:gdLst>
                  <a:gd name="T0" fmla="*/ 0 w 207"/>
                  <a:gd name="T1" fmla="*/ 0 h 240"/>
                  <a:gd name="T2" fmla="*/ 42 w 207"/>
                  <a:gd name="T3" fmla="*/ 0 h 240"/>
                  <a:gd name="T4" fmla="*/ 175 w 207"/>
                  <a:gd name="T5" fmla="*/ 198 h 240"/>
                  <a:gd name="T6" fmla="*/ 175 w 207"/>
                  <a:gd name="T7" fmla="*/ 198 h 240"/>
                  <a:gd name="T8" fmla="*/ 175 w 207"/>
                  <a:gd name="T9" fmla="*/ 0 h 240"/>
                  <a:gd name="T10" fmla="*/ 207 w 207"/>
                  <a:gd name="T11" fmla="*/ 0 h 240"/>
                  <a:gd name="T12" fmla="*/ 207 w 207"/>
                  <a:gd name="T13" fmla="*/ 240 h 240"/>
                  <a:gd name="T14" fmla="*/ 166 w 207"/>
                  <a:gd name="T15" fmla="*/ 240 h 240"/>
                  <a:gd name="T16" fmla="*/ 33 w 207"/>
                  <a:gd name="T17" fmla="*/ 42 h 240"/>
                  <a:gd name="T18" fmla="*/ 33 w 207"/>
                  <a:gd name="T19" fmla="*/ 42 h 240"/>
                  <a:gd name="T20" fmla="*/ 33 w 207"/>
                  <a:gd name="T21" fmla="*/ 240 h 240"/>
                  <a:gd name="T22" fmla="*/ 0 w 207"/>
                  <a:gd name="T23" fmla="*/ 240 h 240"/>
                  <a:gd name="T24" fmla="*/ 0 w 207"/>
                  <a:gd name="T2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" h="240">
                    <a:moveTo>
                      <a:pt x="0" y="0"/>
                    </a:moveTo>
                    <a:lnTo>
                      <a:pt x="42" y="0"/>
                    </a:lnTo>
                    <a:lnTo>
                      <a:pt x="175" y="198"/>
                    </a:lnTo>
                    <a:lnTo>
                      <a:pt x="175" y="198"/>
                    </a:lnTo>
                    <a:lnTo>
                      <a:pt x="175" y="0"/>
                    </a:lnTo>
                    <a:lnTo>
                      <a:pt x="207" y="0"/>
                    </a:lnTo>
                    <a:lnTo>
                      <a:pt x="207" y="240"/>
                    </a:lnTo>
                    <a:lnTo>
                      <a:pt x="166" y="240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0"/>
                    </a:lnTo>
                    <a:lnTo>
                      <a:pt x="0" y="2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0"/>
              <p:cNvSpPr>
                <a:spLocks/>
              </p:cNvSpPr>
              <p:nvPr userDrawn="1"/>
            </p:nvSpPr>
            <p:spPr bwMode="auto">
              <a:xfrm>
                <a:off x="10547350" y="4765676"/>
                <a:ext cx="252413" cy="396875"/>
              </a:xfrm>
              <a:custGeom>
                <a:avLst/>
                <a:gdLst>
                  <a:gd name="T0" fmla="*/ 89 w 159"/>
                  <a:gd name="T1" fmla="*/ 0 h 250"/>
                  <a:gd name="T2" fmla="*/ 114 w 159"/>
                  <a:gd name="T3" fmla="*/ 3 h 250"/>
                  <a:gd name="T4" fmla="*/ 138 w 159"/>
                  <a:gd name="T5" fmla="*/ 10 h 250"/>
                  <a:gd name="T6" fmla="*/ 156 w 159"/>
                  <a:gd name="T7" fmla="*/ 26 h 250"/>
                  <a:gd name="T8" fmla="*/ 131 w 159"/>
                  <a:gd name="T9" fmla="*/ 52 h 250"/>
                  <a:gd name="T10" fmla="*/ 114 w 159"/>
                  <a:gd name="T11" fmla="*/ 35 h 250"/>
                  <a:gd name="T12" fmla="*/ 89 w 159"/>
                  <a:gd name="T13" fmla="*/ 31 h 250"/>
                  <a:gd name="T14" fmla="*/ 66 w 159"/>
                  <a:gd name="T15" fmla="*/ 33 h 250"/>
                  <a:gd name="T16" fmla="*/ 52 w 159"/>
                  <a:gd name="T17" fmla="*/ 42 h 250"/>
                  <a:gd name="T18" fmla="*/ 45 w 159"/>
                  <a:gd name="T19" fmla="*/ 54 h 250"/>
                  <a:gd name="T20" fmla="*/ 42 w 159"/>
                  <a:gd name="T21" fmla="*/ 66 h 250"/>
                  <a:gd name="T22" fmla="*/ 47 w 159"/>
                  <a:gd name="T23" fmla="*/ 84 h 250"/>
                  <a:gd name="T24" fmla="*/ 56 w 159"/>
                  <a:gd name="T25" fmla="*/ 94 h 250"/>
                  <a:gd name="T26" fmla="*/ 73 w 159"/>
                  <a:gd name="T27" fmla="*/ 103 h 250"/>
                  <a:gd name="T28" fmla="*/ 91 w 159"/>
                  <a:gd name="T29" fmla="*/ 110 h 250"/>
                  <a:gd name="T30" fmla="*/ 110 w 159"/>
                  <a:gd name="T31" fmla="*/ 115 h 250"/>
                  <a:gd name="T32" fmla="*/ 128 w 159"/>
                  <a:gd name="T33" fmla="*/ 124 h 250"/>
                  <a:gd name="T34" fmla="*/ 145 w 159"/>
                  <a:gd name="T35" fmla="*/ 136 h 250"/>
                  <a:gd name="T36" fmla="*/ 156 w 159"/>
                  <a:gd name="T37" fmla="*/ 152 h 250"/>
                  <a:gd name="T38" fmla="*/ 159 w 159"/>
                  <a:gd name="T39" fmla="*/ 178 h 250"/>
                  <a:gd name="T40" fmla="*/ 156 w 159"/>
                  <a:gd name="T41" fmla="*/ 203 h 250"/>
                  <a:gd name="T42" fmla="*/ 145 w 159"/>
                  <a:gd name="T43" fmla="*/ 222 h 250"/>
                  <a:gd name="T44" fmla="*/ 126 w 159"/>
                  <a:gd name="T45" fmla="*/ 238 h 250"/>
                  <a:gd name="T46" fmla="*/ 103 w 159"/>
                  <a:gd name="T47" fmla="*/ 248 h 250"/>
                  <a:gd name="T48" fmla="*/ 77 w 159"/>
                  <a:gd name="T49" fmla="*/ 250 h 250"/>
                  <a:gd name="T50" fmla="*/ 47 w 159"/>
                  <a:gd name="T51" fmla="*/ 248 h 250"/>
                  <a:gd name="T52" fmla="*/ 21 w 159"/>
                  <a:gd name="T53" fmla="*/ 236 h 250"/>
                  <a:gd name="T54" fmla="*/ 0 w 159"/>
                  <a:gd name="T55" fmla="*/ 217 h 250"/>
                  <a:gd name="T56" fmla="*/ 26 w 159"/>
                  <a:gd name="T57" fmla="*/ 194 h 250"/>
                  <a:gd name="T58" fmla="*/ 40 w 159"/>
                  <a:gd name="T59" fmla="*/ 210 h 250"/>
                  <a:gd name="T60" fmla="*/ 59 w 159"/>
                  <a:gd name="T61" fmla="*/ 217 h 250"/>
                  <a:gd name="T62" fmla="*/ 77 w 159"/>
                  <a:gd name="T63" fmla="*/ 220 h 250"/>
                  <a:gd name="T64" fmla="*/ 93 w 159"/>
                  <a:gd name="T65" fmla="*/ 217 h 250"/>
                  <a:gd name="T66" fmla="*/ 110 w 159"/>
                  <a:gd name="T67" fmla="*/ 210 h 250"/>
                  <a:gd name="T68" fmla="*/ 121 w 159"/>
                  <a:gd name="T69" fmla="*/ 199 h 250"/>
                  <a:gd name="T70" fmla="*/ 126 w 159"/>
                  <a:gd name="T71" fmla="*/ 180 h 250"/>
                  <a:gd name="T72" fmla="*/ 121 w 159"/>
                  <a:gd name="T73" fmla="*/ 166 h 250"/>
                  <a:gd name="T74" fmla="*/ 110 w 159"/>
                  <a:gd name="T75" fmla="*/ 154 h 250"/>
                  <a:gd name="T76" fmla="*/ 96 w 159"/>
                  <a:gd name="T77" fmla="*/ 147 h 250"/>
                  <a:gd name="T78" fmla="*/ 77 w 159"/>
                  <a:gd name="T79" fmla="*/ 140 h 250"/>
                  <a:gd name="T80" fmla="*/ 56 w 159"/>
                  <a:gd name="T81" fmla="*/ 133 h 250"/>
                  <a:gd name="T82" fmla="*/ 38 w 159"/>
                  <a:gd name="T83" fmla="*/ 126 h 250"/>
                  <a:gd name="T84" fmla="*/ 21 w 159"/>
                  <a:gd name="T85" fmla="*/ 112 h 250"/>
                  <a:gd name="T86" fmla="*/ 12 w 159"/>
                  <a:gd name="T87" fmla="*/ 94 h 250"/>
                  <a:gd name="T88" fmla="*/ 7 w 159"/>
                  <a:gd name="T89" fmla="*/ 66 h 250"/>
                  <a:gd name="T90" fmla="*/ 10 w 159"/>
                  <a:gd name="T91" fmla="*/ 49 h 250"/>
                  <a:gd name="T92" fmla="*/ 19 w 159"/>
                  <a:gd name="T93" fmla="*/ 31 h 250"/>
                  <a:gd name="T94" fmla="*/ 35 w 159"/>
                  <a:gd name="T95" fmla="*/ 14 h 250"/>
                  <a:gd name="T96" fmla="*/ 59 w 159"/>
                  <a:gd name="T97" fmla="*/ 3 h 250"/>
                  <a:gd name="T98" fmla="*/ 89 w 159"/>
                  <a:gd name="T9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9" h="250">
                    <a:moveTo>
                      <a:pt x="89" y="0"/>
                    </a:moveTo>
                    <a:lnTo>
                      <a:pt x="114" y="3"/>
                    </a:lnTo>
                    <a:lnTo>
                      <a:pt x="138" y="10"/>
                    </a:lnTo>
                    <a:lnTo>
                      <a:pt x="156" y="26"/>
                    </a:lnTo>
                    <a:lnTo>
                      <a:pt x="131" y="52"/>
                    </a:lnTo>
                    <a:lnTo>
                      <a:pt x="114" y="35"/>
                    </a:lnTo>
                    <a:lnTo>
                      <a:pt x="89" y="31"/>
                    </a:lnTo>
                    <a:lnTo>
                      <a:pt x="66" y="33"/>
                    </a:lnTo>
                    <a:lnTo>
                      <a:pt x="52" y="42"/>
                    </a:lnTo>
                    <a:lnTo>
                      <a:pt x="45" y="54"/>
                    </a:lnTo>
                    <a:lnTo>
                      <a:pt x="42" y="66"/>
                    </a:lnTo>
                    <a:lnTo>
                      <a:pt x="47" y="84"/>
                    </a:lnTo>
                    <a:lnTo>
                      <a:pt x="56" y="94"/>
                    </a:lnTo>
                    <a:lnTo>
                      <a:pt x="73" y="103"/>
                    </a:lnTo>
                    <a:lnTo>
                      <a:pt x="91" y="110"/>
                    </a:lnTo>
                    <a:lnTo>
                      <a:pt x="110" y="115"/>
                    </a:lnTo>
                    <a:lnTo>
                      <a:pt x="128" y="124"/>
                    </a:lnTo>
                    <a:lnTo>
                      <a:pt x="145" y="136"/>
                    </a:lnTo>
                    <a:lnTo>
                      <a:pt x="156" y="152"/>
                    </a:lnTo>
                    <a:lnTo>
                      <a:pt x="159" y="178"/>
                    </a:lnTo>
                    <a:lnTo>
                      <a:pt x="156" y="203"/>
                    </a:lnTo>
                    <a:lnTo>
                      <a:pt x="145" y="222"/>
                    </a:lnTo>
                    <a:lnTo>
                      <a:pt x="126" y="238"/>
                    </a:lnTo>
                    <a:lnTo>
                      <a:pt x="103" y="248"/>
                    </a:lnTo>
                    <a:lnTo>
                      <a:pt x="77" y="250"/>
                    </a:lnTo>
                    <a:lnTo>
                      <a:pt x="47" y="248"/>
                    </a:lnTo>
                    <a:lnTo>
                      <a:pt x="21" y="236"/>
                    </a:lnTo>
                    <a:lnTo>
                      <a:pt x="0" y="217"/>
                    </a:lnTo>
                    <a:lnTo>
                      <a:pt x="26" y="194"/>
                    </a:lnTo>
                    <a:lnTo>
                      <a:pt x="40" y="210"/>
                    </a:lnTo>
                    <a:lnTo>
                      <a:pt x="59" y="217"/>
                    </a:lnTo>
                    <a:lnTo>
                      <a:pt x="77" y="220"/>
                    </a:lnTo>
                    <a:lnTo>
                      <a:pt x="93" y="217"/>
                    </a:lnTo>
                    <a:lnTo>
                      <a:pt x="110" y="210"/>
                    </a:lnTo>
                    <a:lnTo>
                      <a:pt x="121" y="199"/>
                    </a:lnTo>
                    <a:lnTo>
                      <a:pt x="126" y="180"/>
                    </a:lnTo>
                    <a:lnTo>
                      <a:pt x="121" y="166"/>
                    </a:lnTo>
                    <a:lnTo>
                      <a:pt x="110" y="154"/>
                    </a:lnTo>
                    <a:lnTo>
                      <a:pt x="96" y="147"/>
                    </a:lnTo>
                    <a:lnTo>
                      <a:pt x="77" y="140"/>
                    </a:lnTo>
                    <a:lnTo>
                      <a:pt x="56" y="133"/>
                    </a:lnTo>
                    <a:lnTo>
                      <a:pt x="38" y="126"/>
                    </a:lnTo>
                    <a:lnTo>
                      <a:pt x="21" y="112"/>
                    </a:lnTo>
                    <a:lnTo>
                      <a:pt x="12" y="94"/>
                    </a:lnTo>
                    <a:lnTo>
                      <a:pt x="7" y="66"/>
                    </a:lnTo>
                    <a:lnTo>
                      <a:pt x="10" y="49"/>
                    </a:lnTo>
                    <a:lnTo>
                      <a:pt x="19" y="31"/>
                    </a:lnTo>
                    <a:lnTo>
                      <a:pt x="35" y="14"/>
                    </a:lnTo>
                    <a:lnTo>
                      <a:pt x="59" y="3"/>
                    </a:lnTo>
                    <a:lnTo>
                      <a:pt x="89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1"/>
              <p:cNvSpPr>
                <a:spLocks/>
              </p:cNvSpPr>
              <p:nvPr userDrawn="1"/>
            </p:nvSpPr>
            <p:spPr bwMode="auto">
              <a:xfrm>
                <a:off x="4743450" y="5280026"/>
                <a:ext cx="239713" cy="382588"/>
              </a:xfrm>
              <a:custGeom>
                <a:avLst/>
                <a:gdLst>
                  <a:gd name="T0" fmla="*/ 0 w 151"/>
                  <a:gd name="T1" fmla="*/ 0 h 241"/>
                  <a:gd name="T2" fmla="*/ 151 w 151"/>
                  <a:gd name="T3" fmla="*/ 0 h 241"/>
                  <a:gd name="T4" fmla="*/ 151 w 151"/>
                  <a:gd name="T5" fmla="*/ 31 h 241"/>
                  <a:gd name="T6" fmla="*/ 33 w 151"/>
                  <a:gd name="T7" fmla="*/ 31 h 241"/>
                  <a:gd name="T8" fmla="*/ 33 w 151"/>
                  <a:gd name="T9" fmla="*/ 105 h 241"/>
                  <a:gd name="T10" fmla="*/ 142 w 151"/>
                  <a:gd name="T11" fmla="*/ 105 h 241"/>
                  <a:gd name="T12" fmla="*/ 142 w 151"/>
                  <a:gd name="T13" fmla="*/ 136 h 241"/>
                  <a:gd name="T14" fmla="*/ 33 w 151"/>
                  <a:gd name="T15" fmla="*/ 136 h 241"/>
                  <a:gd name="T16" fmla="*/ 33 w 151"/>
                  <a:gd name="T17" fmla="*/ 241 h 241"/>
                  <a:gd name="T18" fmla="*/ 0 w 151"/>
                  <a:gd name="T19" fmla="*/ 241 h 241"/>
                  <a:gd name="T20" fmla="*/ 0 w 151"/>
                  <a:gd name="T21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1" h="241">
                    <a:moveTo>
                      <a:pt x="0" y="0"/>
                    </a:moveTo>
                    <a:lnTo>
                      <a:pt x="151" y="0"/>
                    </a:lnTo>
                    <a:lnTo>
                      <a:pt x="151" y="31"/>
                    </a:lnTo>
                    <a:lnTo>
                      <a:pt x="33" y="31"/>
                    </a:lnTo>
                    <a:lnTo>
                      <a:pt x="33" y="105"/>
                    </a:lnTo>
                    <a:lnTo>
                      <a:pt x="142" y="105"/>
                    </a:lnTo>
                    <a:lnTo>
                      <a:pt x="142" y="136"/>
                    </a:lnTo>
                    <a:lnTo>
                      <a:pt x="33" y="136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2"/>
              <p:cNvSpPr>
                <a:spLocks noEditPoints="1"/>
              </p:cNvSpPr>
              <p:nvPr userDrawn="1"/>
            </p:nvSpPr>
            <p:spPr bwMode="auto">
              <a:xfrm>
                <a:off x="5021263" y="5268913"/>
                <a:ext cx="395288" cy="400050"/>
              </a:xfrm>
              <a:custGeom>
                <a:avLst/>
                <a:gdLst>
                  <a:gd name="T0" fmla="*/ 125 w 249"/>
                  <a:gd name="T1" fmla="*/ 33 h 252"/>
                  <a:gd name="T2" fmla="*/ 95 w 249"/>
                  <a:gd name="T3" fmla="*/ 38 h 252"/>
                  <a:gd name="T4" fmla="*/ 70 w 249"/>
                  <a:gd name="T5" fmla="*/ 49 h 252"/>
                  <a:gd name="T6" fmla="*/ 51 w 249"/>
                  <a:gd name="T7" fmla="*/ 70 h 252"/>
                  <a:gd name="T8" fmla="*/ 39 w 249"/>
                  <a:gd name="T9" fmla="*/ 98 h 252"/>
                  <a:gd name="T10" fmla="*/ 35 w 249"/>
                  <a:gd name="T11" fmla="*/ 126 h 252"/>
                  <a:gd name="T12" fmla="*/ 39 w 249"/>
                  <a:gd name="T13" fmla="*/ 157 h 252"/>
                  <a:gd name="T14" fmla="*/ 51 w 249"/>
                  <a:gd name="T15" fmla="*/ 182 h 252"/>
                  <a:gd name="T16" fmla="*/ 70 w 249"/>
                  <a:gd name="T17" fmla="*/ 203 h 252"/>
                  <a:gd name="T18" fmla="*/ 95 w 249"/>
                  <a:gd name="T19" fmla="*/ 217 h 252"/>
                  <a:gd name="T20" fmla="*/ 125 w 249"/>
                  <a:gd name="T21" fmla="*/ 222 h 252"/>
                  <a:gd name="T22" fmla="*/ 156 w 249"/>
                  <a:gd name="T23" fmla="*/ 217 h 252"/>
                  <a:gd name="T24" fmla="*/ 179 w 249"/>
                  <a:gd name="T25" fmla="*/ 203 h 252"/>
                  <a:gd name="T26" fmla="*/ 200 w 249"/>
                  <a:gd name="T27" fmla="*/ 182 h 252"/>
                  <a:gd name="T28" fmla="*/ 212 w 249"/>
                  <a:gd name="T29" fmla="*/ 157 h 252"/>
                  <a:gd name="T30" fmla="*/ 214 w 249"/>
                  <a:gd name="T31" fmla="*/ 126 h 252"/>
                  <a:gd name="T32" fmla="*/ 212 w 249"/>
                  <a:gd name="T33" fmla="*/ 98 h 252"/>
                  <a:gd name="T34" fmla="*/ 200 w 249"/>
                  <a:gd name="T35" fmla="*/ 70 h 252"/>
                  <a:gd name="T36" fmla="*/ 179 w 249"/>
                  <a:gd name="T37" fmla="*/ 49 h 252"/>
                  <a:gd name="T38" fmla="*/ 156 w 249"/>
                  <a:gd name="T39" fmla="*/ 38 h 252"/>
                  <a:gd name="T40" fmla="*/ 125 w 249"/>
                  <a:gd name="T41" fmla="*/ 33 h 252"/>
                  <a:gd name="T42" fmla="*/ 125 w 249"/>
                  <a:gd name="T43" fmla="*/ 0 h 252"/>
                  <a:gd name="T44" fmla="*/ 165 w 249"/>
                  <a:gd name="T45" fmla="*/ 7 h 252"/>
                  <a:gd name="T46" fmla="*/ 200 w 249"/>
                  <a:gd name="T47" fmla="*/ 26 h 252"/>
                  <a:gd name="T48" fmla="*/ 226 w 249"/>
                  <a:gd name="T49" fmla="*/ 52 h 252"/>
                  <a:gd name="T50" fmla="*/ 244 w 249"/>
                  <a:gd name="T51" fmla="*/ 87 h 252"/>
                  <a:gd name="T52" fmla="*/ 249 w 249"/>
                  <a:gd name="T53" fmla="*/ 126 h 252"/>
                  <a:gd name="T54" fmla="*/ 244 w 249"/>
                  <a:gd name="T55" fmla="*/ 168 h 252"/>
                  <a:gd name="T56" fmla="*/ 226 w 249"/>
                  <a:gd name="T57" fmla="*/ 203 h 252"/>
                  <a:gd name="T58" fmla="*/ 200 w 249"/>
                  <a:gd name="T59" fmla="*/ 229 h 252"/>
                  <a:gd name="T60" fmla="*/ 165 w 249"/>
                  <a:gd name="T61" fmla="*/ 248 h 252"/>
                  <a:gd name="T62" fmla="*/ 125 w 249"/>
                  <a:gd name="T63" fmla="*/ 252 h 252"/>
                  <a:gd name="T64" fmla="*/ 84 w 249"/>
                  <a:gd name="T65" fmla="*/ 248 h 252"/>
                  <a:gd name="T66" fmla="*/ 49 w 249"/>
                  <a:gd name="T67" fmla="*/ 229 h 252"/>
                  <a:gd name="T68" fmla="*/ 23 w 249"/>
                  <a:gd name="T69" fmla="*/ 203 h 252"/>
                  <a:gd name="T70" fmla="*/ 7 w 249"/>
                  <a:gd name="T71" fmla="*/ 168 h 252"/>
                  <a:gd name="T72" fmla="*/ 0 w 249"/>
                  <a:gd name="T73" fmla="*/ 126 h 252"/>
                  <a:gd name="T74" fmla="*/ 7 w 249"/>
                  <a:gd name="T75" fmla="*/ 87 h 252"/>
                  <a:gd name="T76" fmla="*/ 23 w 249"/>
                  <a:gd name="T77" fmla="*/ 52 h 252"/>
                  <a:gd name="T78" fmla="*/ 49 w 249"/>
                  <a:gd name="T79" fmla="*/ 26 h 252"/>
                  <a:gd name="T80" fmla="*/ 84 w 249"/>
                  <a:gd name="T81" fmla="*/ 7 h 252"/>
                  <a:gd name="T82" fmla="*/ 125 w 249"/>
                  <a:gd name="T83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2">
                    <a:moveTo>
                      <a:pt x="125" y="33"/>
                    </a:moveTo>
                    <a:lnTo>
                      <a:pt x="95" y="38"/>
                    </a:lnTo>
                    <a:lnTo>
                      <a:pt x="70" y="49"/>
                    </a:lnTo>
                    <a:lnTo>
                      <a:pt x="51" y="70"/>
                    </a:lnTo>
                    <a:lnTo>
                      <a:pt x="39" y="98"/>
                    </a:lnTo>
                    <a:lnTo>
                      <a:pt x="35" y="126"/>
                    </a:lnTo>
                    <a:lnTo>
                      <a:pt x="39" y="157"/>
                    </a:lnTo>
                    <a:lnTo>
                      <a:pt x="51" y="182"/>
                    </a:lnTo>
                    <a:lnTo>
                      <a:pt x="70" y="203"/>
                    </a:lnTo>
                    <a:lnTo>
                      <a:pt x="95" y="217"/>
                    </a:lnTo>
                    <a:lnTo>
                      <a:pt x="125" y="222"/>
                    </a:lnTo>
                    <a:lnTo>
                      <a:pt x="156" y="217"/>
                    </a:lnTo>
                    <a:lnTo>
                      <a:pt x="179" y="203"/>
                    </a:lnTo>
                    <a:lnTo>
                      <a:pt x="200" y="182"/>
                    </a:lnTo>
                    <a:lnTo>
                      <a:pt x="212" y="157"/>
                    </a:lnTo>
                    <a:lnTo>
                      <a:pt x="214" y="126"/>
                    </a:lnTo>
                    <a:lnTo>
                      <a:pt x="212" y="98"/>
                    </a:lnTo>
                    <a:lnTo>
                      <a:pt x="200" y="70"/>
                    </a:lnTo>
                    <a:lnTo>
                      <a:pt x="179" y="49"/>
                    </a:lnTo>
                    <a:lnTo>
                      <a:pt x="156" y="38"/>
                    </a:lnTo>
                    <a:lnTo>
                      <a:pt x="125" y="33"/>
                    </a:lnTo>
                    <a:close/>
                    <a:moveTo>
                      <a:pt x="125" y="0"/>
                    </a:moveTo>
                    <a:lnTo>
                      <a:pt x="165" y="7"/>
                    </a:lnTo>
                    <a:lnTo>
                      <a:pt x="200" y="26"/>
                    </a:lnTo>
                    <a:lnTo>
                      <a:pt x="226" y="52"/>
                    </a:lnTo>
                    <a:lnTo>
                      <a:pt x="244" y="87"/>
                    </a:lnTo>
                    <a:lnTo>
                      <a:pt x="249" y="126"/>
                    </a:lnTo>
                    <a:lnTo>
                      <a:pt x="244" y="168"/>
                    </a:lnTo>
                    <a:lnTo>
                      <a:pt x="226" y="203"/>
                    </a:lnTo>
                    <a:lnTo>
                      <a:pt x="200" y="229"/>
                    </a:lnTo>
                    <a:lnTo>
                      <a:pt x="165" y="248"/>
                    </a:lnTo>
                    <a:lnTo>
                      <a:pt x="125" y="252"/>
                    </a:lnTo>
                    <a:lnTo>
                      <a:pt x="84" y="248"/>
                    </a:lnTo>
                    <a:lnTo>
                      <a:pt x="49" y="229"/>
                    </a:lnTo>
                    <a:lnTo>
                      <a:pt x="23" y="203"/>
                    </a:lnTo>
                    <a:lnTo>
                      <a:pt x="7" y="168"/>
                    </a:lnTo>
                    <a:lnTo>
                      <a:pt x="0" y="126"/>
                    </a:lnTo>
                    <a:lnTo>
                      <a:pt x="7" y="87"/>
                    </a:lnTo>
                    <a:lnTo>
                      <a:pt x="23" y="52"/>
                    </a:lnTo>
                    <a:lnTo>
                      <a:pt x="49" y="26"/>
                    </a:lnTo>
                    <a:lnTo>
                      <a:pt x="84" y="7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33"/>
              <p:cNvSpPr>
                <a:spLocks noEditPoints="1"/>
              </p:cNvSpPr>
              <p:nvPr userDrawn="1"/>
            </p:nvSpPr>
            <p:spPr bwMode="auto">
              <a:xfrm>
                <a:off x="5483225" y="5280026"/>
                <a:ext cx="269875" cy="382588"/>
              </a:xfrm>
              <a:custGeom>
                <a:avLst/>
                <a:gdLst>
                  <a:gd name="T0" fmla="*/ 32 w 170"/>
                  <a:gd name="T1" fmla="*/ 28 h 241"/>
                  <a:gd name="T2" fmla="*/ 32 w 170"/>
                  <a:gd name="T3" fmla="*/ 105 h 241"/>
                  <a:gd name="T4" fmla="*/ 74 w 170"/>
                  <a:gd name="T5" fmla="*/ 105 h 241"/>
                  <a:gd name="T6" fmla="*/ 90 w 170"/>
                  <a:gd name="T7" fmla="*/ 105 h 241"/>
                  <a:gd name="T8" fmla="*/ 104 w 170"/>
                  <a:gd name="T9" fmla="*/ 101 h 241"/>
                  <a:gd name="T10" fmla="*/ 116 w 170"/>
                  <a:gd name="T11" fmla="*/ 96 h 241"/>
                  <a:gd name="T12" fmla="*/ 123 w 170"/>
                  <a:gd name="T13" fmla="*/ 84 h 241"/>
                  <a:gd name="T14" fmla="*/ 125 w 170"/>
                  <a:gd name="T15" fmla="*/ 68 h 241"/>
                  <a:gd name="T16" fmla="*/ 123 w 170"/>
                  <a:gd name="T17" fmla="*/ 52 h 241"/>
                  <a:gd name="T18" fmla="*/ 116 w 170"/>
                  <a:gd name="T19" fmla="*/ 40 h 241"/>
                  <a:gd name="T20" fmla="*/ 104 w 170"/>
                  <a:gd name="T21" fmla="*/ 33 h 241"/>
                  <a:gd name="T22" fmla="*/ 90 w 170"/>
                  <a:gd name="T23" fmla="*/ 31 h 241"/>
                  <a:gd name="T24" fmla="*/ 74 w 170"/>
                  <a:gd name="T25" fmla="*/ 28 h 241"/>
                  <a:gd name="T26" fmla="*/ 32 w 170"/>
                  <a:gd name="T27" fmla="*/ 28 h 241"/>
                  <a:gd name="T28" fmla="*/ 0 w 170"/>
                  <a:gd name="T29" fmla="*/ 0 h 241"/>
                  <a:gd name="T30" fmla="*/ 83 w 170"/>
                  <a:gd name="T31" fmla="*/ 0 h 241"/>
                  <a:gd name="T32" fmla="*/ 111 w 170"/>
                  <a:gd name="T33" fmla="*/ 3 h 241"/>
                  <a:gd name="T34" fmla="*/ 130 w 170"/>
                  <a:gd name="T35" fmla="*/ 12 h 241"/>
                  <a:gd name="T36" fmla="*/ 144 w 170"/>
                  <a:gd name="T37" fmla="*/ 24 h 241"/>
                  <a:gd name="T38" fmla="*/ 153 w 170"/>
                  <a:gd name="T39" fmla="*/ 38 h 241"/>
                  <a:gd name="T40" fmla="*/ 158 w 170"/>
                  <a:gd name="T41" fmla="*/ 52 h 241"/>
                  <a:gd name="T42" fmla="*/ 160 w 170"/>
                  <a:gd name="T43" fmla="*/ 68 h 241"/>
                  <a:gd name="T44" fmla="*/ 156 w 170"/>
                  <a:gd name="T45" fmla="*/ 89 h 241"/>
                  <a:gd name="T46" fmla="*/ 144 w 170"/>
                  <a:gd name="T47" fmla="*/ 110 h 241"/>
                  <a:gd name="T48" fmla="*/ 125 w 170"/>
                  <a:gd name="T49" fmla="*/ 124 h 241"/>
                  <a:gd name="T50" fmla="*/ 102 w 170"/>
                  <a:gd name="T51" fmla="*/ 131 h 241"/>
                  <a:gd name="T52" fmla="*/ 170 w 170"/>
                  <a:gd name="T53" fmla="*/ 241 h 241"/>
                  <a:gd name="T54" fmla="*/ 130 w 170"/>
                  <a:gd name="T55" fmla="*/ 241 h 241"/>
                  <a:gd name="T56" fmla="*/ 69 w 170"/>
                  <a:gd name="T57" fmla="*/ 133 h 241"/>
                  <a:gd name="T58" fmla="*/ 32 w 170"/>
                  <a:gd name="T59" fmla="*/ 133 h 241"/>
                  <a:gd name="T60" fmla="*/ 32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90" y="105"/>
                    </a:lnTo>
                    <a:lnTo>
                      <a:pt x="104" y="101"/>
                    </a:lnTo>
                    <a:lnTo>
                      <a:pt x="116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2"/>
                    </a:lnTo>
                    <a:lnTo>
                      <a:pt x="116" y="40"/>
                    </a:lnTo>
                    <a:lnTo>
                      <a:pt x="104" y="33"/>
                    </a:lnTo>
                    <a:lnTo>
                      <a:pt x="90" y="31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11" y="3"/>
                    </a:lnTo>
                    <a:lnTo>
                      <a:pt x="130" y="12"/>
                    </a:lnTo>
                    <a:lnTo>
                      <a:pt x="144" y="24"/>
                    </a:lnTo>
                    <a:lnTo>
                      <a:pt x="153" y="38"/>
                    </a:lnTo>
                    <a:lnTo>
                      <a:pt x="158" y="52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2" y="131"/>
                    </a:lnTo>
                    <a:lnTo>
                      <a:pt x="170" y="241"/>
                    </a:lnTo>
                    <a:lnTo>
                      <a:pt x="130" y="241"/>
                    </a:lnTo>
                    <a:lnTo>
                      <a:pt x="69" y="133"/>
                    </a:lnTo>
                    <a:lnTo>
                      <a:pt x="32" y="133"/>
                    </a:lnTo>
                    <a:lnTo>
                      <a:pt x="3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34"/>
              <p:cNvSpPr>
                <a:spLocks noEditPoints="1"/>
              </p:cNvSpPr>
              <p:nvPr userDrawn="1"/>
            </p:nvSpPr>
            <p:spPr bwMode="auto">
              <a:xfrm>
                <a:off x="5895975" y="5280026"/>
                <a:ext cx="373063" cy="382588"/>
              </a:xfrm>
              <a:custGeom>
                <a:avLst/>
                <a:gdLst>
                  <a:gd name="T0" fmla="*/ 117 w 235"/>
                  <a:gd name="T1" fmla="*/ 42 h 241"/>
                  <a:gd name="T2" fmla="*/ 72 w 235"/>
                  <a:gd name="T3" fmla="*/ 152 h 241"/>
                  <a:gd name="T4" fmla="*/ 163 w 235"/>
                  <a:gd name="T5" fmla="*/ 152 h 241"/>
                  <a:gd name="T6" fmla="*/ 119 w 235"/>
                  <a:gd name="T7" fmla="*/ 42 h 241"/>
                  <a:gd name="T8" fmla="*/ 117 w 235"/>
                  <a:gd name="T9" fmla="*/ 42 h 241"/>
                  <a:gd name="T10" fmla="*/ 105 w 235"/>
                  <a:gd name="T11" fmla="*/ 0 h 241"/>
                  <a:gd name="T12" fmla="*/ 135 w 235"/>
                  <a:gd name="T13" fmla="*/ 0 h 241"/>
                  <a:gd name="T14" fmla="*/ 235 w 235"/>
                  <a:gd name="T15" fmla="*/ 241 h 241"/>
                  <a:gd name="T16" fmla="*/ 198 w 235"/>
                  <a:gd name="T17" fmla="*/ 241 h 241"/>
                  <a:gd name="T18" fmla="*/ 175 w 235"/>
                  <a:gd name="T19" fmla="*/ 180 h 241"/>
                  <a:gd name="T20" fmla="*/ 61 w 235"/>
                  <a:gd name="T21" fmla="*/ 180 h 241"/>
                  <a:gd name="T22" fmla="*/ 38 w 235"/>
                  <a:gd name="T23" fmla="*/ 241 h 241"/>
                  <a:gd name="T24" fmla="*/ 0 w 235"/>
                  <a:gd name="T25" fmla="*/ 241 h 241"/>
                  <a:gd name="T26" fmla="*/ 105 w 235"/>
                  <a:gd name="T2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5" h="241">
                    <a:moveTo>
                      <a:pt x="117" y="42"/>
                    </a:moveTo>
                    <a:lnTo>
                      <a:pt x="72" y="152"/>
                    </a:lnTo>
                    <a:lnTo>
                      <a:pt x="163" y="152"/>
                    </a:lnTo>
                    <a:lnTo>
                      <a:pt x="119" y="42"/>
                    </a:lnTo>
                    <a:lnTo>
                      <a:pt x="117" y="42"/>
                    </a:lnTo>
                    <a:close/>
                    <a:moveTo>
                      <a:pt x="105" y="0"/>
                    </a:moveTo>
                    <a:lnTo>
                      <a:pt x="135" y="0"/>
                    </a:lnTo>
                    <a:lnTo>
                      <a:pt x="235" y="241"/>
                    </a:lnTo>
                    <a:lnTo>
                      <a:pt x="198" y="241"/>
                    </a:lnTo>
                    <a:lnTo>
                      <a:pt x="175" y="180"/>
                    </a:lnTo>
                    <a:lnTo>
                      <a:pt x="61" y="180"/>
                    </a:lnTo>
                    <a:lnTo>
                      <a:pt x="38" y="241"/>
                    </a:lnTo>
                    <a:lnTo>
                      <a:pt x="0" y="24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5"/>
              <p:cNvSpPr>
                <a:spLocks/>
              </p:cNvSpPr>
              <p:nvPr userDrawn="1"/>
            </p:nvSpPr>
            <p:spPr bwMode="auto">
              <a:xfrm>
                <a:off x="6421438" y="5268913"/>
                <a:ext cx="254000" cy="400050"/>
              </a:xfrm>
              <a:custGeom>
                <a:avLst/>
                <a:gdLst>
                  <a:gd name="T0" fmla="*/ 88 w 160"/>
                  <a:gd name="T1" fmla="*/ 0 h 252"/>
                  <a:gd name="T2" fmla="*/ 114 w 160"/>
                  <a:gd name="T3" fmla="*/ 3 h 252"/>
                  <a:gd name="T4" fmla="*/ 137 w 160"/>
                  <a:gd name="T5" fmla="*/ 12 h 252"/>
                  <a:gd name="T6" fmla="*/ 158 w 160"/>
                  <a:gd name="T7" fmla="*/ 28 h 252"/>
                  <a:gd name="T8" fmla="*/ 130 w 160"/>
                  <a:gd name="T9" fmla="*/ 54 h 252"/>
                  <a:gd name="T10" fmla="*/ 114 w 160"/>
                  <a:gd name="T11" fmla="*/ 38 h 252"/>
                  <a:gd name="T12" fmla="*/ 88 w 160"/>
                  <a:gd name="T13" fmla="*/ 33 h 252"/>
                  <a:gd name="T14" fmla="*/ 65 w 160"/>
                  <a:gd name="T15" fmla="*/ 35 h 252"/>
                  <a:gd name="T16" fmla="*/ 51 w 160"/>
                  <a:gd name="T17" fmla="*/ 45 h 252"/>
                  <a:gd name="T18" fmla="*/ 44 w 160"/>
                  <a:gd name="T19" fmla="*/ 56 h 252"/>
                  <a:gd name="T20" fmla="*/ 42 w 160"/>
                  <a:gd name="T21" fmla="*/ 68 h 252"/>
                  <a:gd name="T22" fmla="*/ 46 w 160"/>
                  <a:gd name="T23" fmla="*/ 84 h 252"/>
                  <a:gd name="T24" fmla="*/ 56 w 160"/>
                  <a:gd name="T25" fmla="*/ 96 h 252"/>
                  <a:gd name="T26" fmla="*/ 72 w 160"/>
                  <a:gd name="T27" fmla="*/ 105 h 252"/>
                  <a:gd name="T28" fmla="*/ 91 w 160"/>
                  <a:gd name="T29" fmla="*/ 110 h 252"/>
                  <a:gd name="T30" fmla="*/ 112 w 160"/>
                  <a:gd name="T31" fmla="*/ 117 h 252"/>
                  <a:gd name="T32" fmla="*/ 130 w 160"/>
                  <a:gd name="T33" fmla="*/ 126 h 252"/>
                  <a:gd name="T34" fmla="*/ 144 w 160"/>
                  <a:gd name="T35" fmla="*/ 138 h 252"/>
                  <a:gd name="T36" fmla="*/ 156 w 160"/>
                  <a:gd name="T37" fmla="*/ 154 h 252"/>
                  <a:gd name="T38" fmla="*/ 160 w 160"/>
                  <a:gd name="T39" fmla="*/ 180 h 252"/>
                  <a:gd name="T40" fmla="*/ 156 w 160"/>
                  <a:gd name="T41" fmla="*/ 203 h 252"/>
                  <a:gd name="T42" fmla="*/ 144 w 160"/>
                  <a:gd name="T43" fmla="*/ 224 h 252"/>
                  <a:gd name="T44" fmla="*/ 125 w 160"/>
                  <a:gd name="T45" fmla="*/ 241 h 252"/>
                  <a:gd name="T46" fmla="*/ 102 w 160"/>
                  <a:gd name="T47" fmla="*/ 250 h 252"/>
                  <a:gd name="T48" fmla="*/ 77 w 160"/>
                  <a:gd name="T49" fmla="*/ 252 h 252"/>
                  <a:gd name="T50" fmla="*/ 46 w 160"/>
                  <a:gd name="T51" fmla="*/ 250 h 252"/>
                  <a:gd name="T52" fmla="*/ 21 w 160"/>
                  <a:gd name="T53" fmla="*/ 238 h 252"/>
                  <a:gd name="T54" fmla="*/ 0 w 160"/>
                  <a:gd name="T55" fmla="*/ 220 h 252"/>
                  <a:gd name="T56" fmla="*/ 28 w 160"/>
                  <a:gd name="T57" fmla="*/ 196 h 252"/>
                  <a:gd name="T58" fmla="*/ 42 w 160"/>
                  <a:gd name="T59" fmla="*/ 210 h 252"/>
                  <a:gd name="T60" fmla="*/ 58 w 160"/>
                  <a:gd name="T61" fmla="*/ 220 h 252"/>
                  <a:gd name="T62" fmla="*/ 77 w 160"/>
                  <a:gd name="T63" fmla="*/ 222 h 252"/>
                  <a:gd name="T64" fmla="*/ 93 w 160"/>
                  <a:gd name="T65" fmla="*/ 220 h 252"/>
                  <a:gd name="T66" fmla="*/ 109 w 160"/>
                  <a:gd name="T67" fmla="*/ 213 h 252"/>
                  <a:gd name="T68" fmla="*/ 121 w 160"/>
                  <a:gd name="T69" fmla="*/ 201 h 252"/>
                  <a:gd name="T70" fmla="*/ 125 w 160"/>
                  <a:gd name="T71" fmla="*/ 182 h 252"/>
                  <a:gd name="T72" fmla="*/ 121 w 160"/>
                  <a:gd name="T73" fmla="*/ 168 h 252"/>
                  <a:gd name="T74" fmla="*/ 109 w 160"/>
                  <a:gd name="T75" fmla="*/ 157 h 252"/>
                  <a:gd name="T76" fmla="*/ 95 w 160"/>
                  <a:gd name="T77" fmla="*/ 150 h 252"/>
                  <a:gd name="T78" fmla="*/ 77 w 160"/>
                  <a:gd name="T79" fmla="*/ 143 h 252"/>
                  <a:gd name="T80" fmla="*/ 56 w 160"/>
                  <a:gd name="T81" fmla="*/ 136 h 252"/>
                  <a:gd name="T82" fmla="*/ 37 w 160"/>
                  <a:gd name="T83" fmla="*/ 126 h 252"/>
                  <a:gd name="T84" fmla="*/ 23 w 160"/>
                  <a:gd name="T85" fmla="*/ 115 h 252"/>
                  <a:gd name="T86" fmla="*/ 11 w 160"/>
                  <a:gd name="T87" fmla="*/ 96 h 252"/>
                  <a:gd name="T88" fmla="*/ 7 w 160"/>
                  <a:gd name="T89" fmla="*/ 68 h 252"/>
                  <a:gd name="T90" fmla="*/ 11 w 160"/>
                  <a:gd name="T91" fmla="*/ 52 h 252"/>
                  <a:gd name="T92" fmla="*/ 18 w 160"/>
                  <a:gd name="T93" fmla="*/ 33 h 252"/>
                  <a:gd name="T94" fmla="*/ 35 w 160"/>
                  <a:gd name="T95" fmla="*/ 17 h 252"/>
                  <a:gd name="T96" fmla="*/ 58 w 160"/>
                  <a:gd name="T97" fmla="*/ 5 h 252"/>
                  <a:gd name="T98" fmla="*/ 88 w 160"/>
                  <a:gd name="T99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" h="252">
                    <a:moveTo>
                      <a:pt x="88" y="0"/>
                    </a:moveTo>
                    <a:lnTo>
                      <a:pt x="114" y="3"/>
                    </a:lnTo>
                    <a:lnTo>
                      <a:pt x="137" y="12"/>
                    </a:lnTo>
                    <a:lnTo>
                      <a:pt x="158" y="28"/>
                    </a:lnTo>
                    <a:lnTo>
                      <a:pt x="130" y="54"/>
                    </a:lnTo>
                    <a:lnTo>
                      <a:pt x="114" y="38"/>
                    </a:lnTo>
                    <a:lnTo>
                      <a:pt x="88" y="33"/>
                    </a:lnTo>
                    <a:lnTo>
                      <a:pt x="65" y="35"/>
                    </a:lnTo>
                    <a:lnTo>
                      <a:pt x="51" y="45"/>
                    </a:lnTo>
                    <a:lnTo>
                      <a:pt x="44" y="56"/>
                    </a:lnTo>
                    <a:lnTo>
                      <a:pt x="42" y="68"/>
                    </a:lnTo>
                    <a:lnTo>
                      <a:pt x="46" y="84"/>
                    </a:lnTo>
                    <a:lnTo>
                      <a:pt x="56" y="96"/>
                    </a:lnTo>
                    <a:lnTo>
                      <a:pt x="72" y="105"/>
                    </a:lnTo>
                    <a:lnTo>
                      <a:pt x="91" y="110"/>
                    </a:lnTo>
                    <a:lnTo>
                      <a:pt x="112" y="117"/>
                    </a:lnTo>
                    <a:lnTo>
                      <a:pt x="130" y="126"/>
                    </a:lnTo>
                    <a:lnTo>
                      <a:pt x="144" y="138"/>
                    </a:lnTo>
                    <a:lnTo>
                      <a:pt x="156" y="154"/>
                    </a:lnTo>
                    <a:lnTo>
                      <a:pt x="160" y="180"/>
                    </a:lnTo>
                    <a:lnTo>
                      <a:pt x="156" y="203"/>
                    </a:lnTo>
                    <a:lnTo>
                      <a:pt x="144" y="224"/>
                    </a:lnTo>
                    <a:lnTo>
                      <a:pt x="125" y="241"/>
                    </a:lnTo>
                    <a:lnTo>
                      <a:pt x="102" y="250"/>
                    </a:lnTo>
                    <a:lnTo>
                      <a:pt x="77" y="252"/>
                    </a:lnTo>
                    <a:lnTo>
                      <a:pt x="46" y="250"/>
                    </a:lnTo>
                    <a:lnTo>
                      <a:pt x="21" y="238"/>
                    </a:lnTo>
                    <a:lnTo>
                      <a:pt x="0" y="220"/>
                    </a:lnTo>
                    <a:lnTo>
                      <a:pt x="28" y="196"/>
                    </a:lnTo>
                    <a:lnTo>
                      <a:pt x="42" y="210"/>
                    </a:lnTo>
                    <a:lnTo>
                      <a:pt x="58" y="220"/>
                    </a:lnTo>
                    <a:lnTo>
                      <a:pt x="77" y="222"/>
                    </a:lnTo>
                    <a:lnTo>
                      <a:pt x="93" y="220"/>
                    </a:lnTo>
                    <a:lnTo>
                      <a:pt x="109" y="213"/>
                    </a:lnTo>
                    <a:lnTo>
                      <a:pt x="121" y="201"/>
                    </a:lnTo>
                    <a:lnTo>
                      <a:pt x="125" y="182"/>
                    </a:lnTo>
                    <a:lnTo>
                      <a:pt x="121" y="168"/>
                    </a:lnTo>
                    <a:lnTo>
                      <a:pt x="109" y="157"/>
                    </a:lnTo>
                    <a:lnTo>
                      <a:pt x="95" y="150"/>
                    </a:lnTo>
                    <a:lnTo>
                      <a:pt x="77" y="143"/>
                    </a:lnTo>
                    <a:lnTo>
                      <a:pt x="56" y="136"/>
                    </a:lnTo>
                    <a:lnTo>
                      <a:pt x="37" y="126"/>
                    </a:lnTo>
                    <a:lnTo>
                      <a:pt x="23" y="115"/>
                    </a:lnTo>
                    <a:lnTo>
                      <a:pt x="11" y="96"/>
                    </a:lnTo>
                    <a:lnTo>
                      <a:pt x="7" y="68"/>
                    </a:lnTo>
                    <a:lnTo>
                      <a:pt x="11" y="52"/>
                    </a:lnTo>
                    <a:lnTo>
                      <a:pt x="18" y="33"/>
                    </a:lnTo>
                    <a:lnTo>
                      <a:pt x="35" y="17"/>
                    </a:lnTo>
                    <a:lnTo>
                      <a:pt x="58" y="5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36"/>
              <p:cNvSpPr>
                <a:spLocks/>
              </p:cNvSpPr>
              <p:nvPr userDrawn="1"/>
            </p:nvSpPr>
            <p:spPr bwMode="auto">
              <a:xfrm>
                <a:off x="6738938" y="5280026"/>
                <a:ext cx="395288" cy="382588"/>
              </a:xfrm>
              <a:custGeom>
                <a:avLst/>
                <a:gdLst>
                  <a:gd name="T0" fmla="*/ 0 w 249"/>
                  <a:gd name="T1" fmla="*/ 0 h 241"/>
                  <a:gd name="T2" fmla="*/ 49 w 249"/>
                  <a:gd name="T3" fmla="*/ 0 h 241"/>
                  <a:gd name="T4" fmla="*/ 123 w 249"/>
                  <a:gd name="T5" fmla="*/ 182 h 241"/>
                  <a:gd name="T6" fmla="*/ 126 w 249"/>
                  <a:gd name="T7" fmla="*/ 182 h 241"/>
                  <a:gd name="T8" fmla="*/ 200 w 249"/>
                  <a:gd name="T9" fmla="*/ 0 h 241"/>
                  <a:gd name="T10" fmla="*/ 249 w 249"/>
                  <a:gd name="T11" fmla="*/ 0 h 241"/>
                  <a:gd name="T12" fmla="*/ 249 w 249"/>
                  <a:gd name="T13" fmla="*/ 241 h 241"/>
                  <a:gd name="T14" fmla="*/ 216 w 249"/>
                  <a:gd name="T15" fmla="*/ 241 h 241"/>
                  <a:gd name="T16" fmla="*/ 216 w 249"/>
                  <a:gd name="T17" fmla="*/ 42 h 241"/>
                  <a:gd name="T18" fmla="*/ 216 w 249"/>
                  <a:gd name="T19" fmla="*/ 42 h 241"/>
                  <a:gd name="T20" fmla="*/ 135 w 249"/>
                  <a:gd name="T21" fmla="*/ 241 h 241"/>
                  <a:gd name="T22" fmla="*/ 114 w 249"/>
                  <a:gd name="T23" fmla="*/ 241 h 241"/>
                  <a:gd name="T24" fmla="*/ 33 w 249"/>
                  <a:gd name="T25" fmla="*/ 42 h 241"/>
                  <a:gd name="T26" fmla="*/ 33 w 249"/>
                  <a:gd name="T27" fmla="*/ 42 h 241"/>
                  <a:gd name="T28" fmla="*/ 33 w 249"/>
                  <a:gd name="T29" fmla="*/ 241 h 241"/>
                  <a:gd name="T30" fmla="*/ 0 w 249"/>
                  <a:gd name="T31" fmla="*/ 241 h 241"/>
                  <a:gd name="T32" fmla="*/ 0 w 249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9" h="241">
                    <a:moveTo>
                      <a:pt x="0" y="0"/>
                    </a:moveTo>
                    <a:lnTo>
                      <a:pt x="49" y="0"/>
                    </a:lnTo>
                    <a:lnTo>
                      <a:pt x="123" y="182"/>
                    </a:lnTo>
                    <a:lnTo>
                      <a:pt x="126" y="182"/>
                    </a:lnTo>
                    <a:lnTo>
                      <a:pt x="200" y="0"/>
                    </a:lnTo>
                    <a:lnTo>
                      <a:pt x="249" y="0"/>
                    </a:lnTo>
                    <a:lnTo>
                      <a:pt x="249" y="241"/>
                    </a:lnTo>
                    <a:lnTo>
                      <a:pt x="216" y="241"/>
                    </a:lnTo>
                    <a:lnTo>
                      <a:pt x="216" y="42"/>
                    </a:lnTo>
                    <a:lnTo>
                      <a:pt x="216" y="42"/>
                    </a:lnTo>
                    <a:lnTo>
                      <a:pt x="135" y="241"/>
                    </a:lnTo>
                    <a:lnTo>
                      <a:pt x="114" y="241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37"/>
              <p:cNvSpPr>
                <a:spLocks noEditPoints="1"/>
              </p:cNvSpPr>
              <p:nvPr userDrawn="1"/>
            </p:nvSpPr>
            <p:spPr bwMode="auto">
              <a:xfrm>
                <a:off x="7170738" y="5280026"/>
                <a:ext cx="377825" cy="382588"/>
              </a:xfrm>
              <a:custGeom>
                <a:avLst/>
                <a:gdLst>
                  <a:gd name="T0" fmla="*/ 119 w 238"/>
                  <a:gd name="T1" fmla="*/ 42 h 241"/>
                  <a:gd name="T2" fmla="*/ 72 w 238"/>
                  <a:gd name="T3" fmla="*/ 152 h 241"/>
                  <a:gd name="T4" fmla="*/ 163 w 238"/>
                  <a:gd name="T5" fmla="*/ 152 h 241"/>
                  <a:gd name="T6" fmla="*/ 119 w 238"/>
                  <a:gd name="T7" fmla="*/ 42 h 241"/>
                  <a:gd name="T8" fmla="*/ 119 w 238"/>
                  <a:gd name="T9" fmla="*/ 42 h 241"/>
                  <a:gd name="T10" fmla="*/ 105 w 238"/>
                  <a:gd name="T11" fmla="*/ 0 h 241"/>
                  <a:gd name="T12" fmla="*/ 135 w 238"/>
                  <a:gd name="T13" fmla="*/ 0 h 241"/>
                  <a:gd name="T14" fmla="*/ 238 w 238"/>
                  <a:gd name="T15" fmla="*/ 241 h 241"/>
                  <a:gd name="T16" fmla="*/ 200 w 238"/>
                  <a:gd name="T17" fmla="*/ 241 h 241"/>
                  <a:gd name="T18" fmla="*/ 175 w 238"/>
                  <a:gd name="T19" fmla="*/ 180 h 241"/>
                  <a:gd name="T20" fmla="*/ 61 w 238"/>
                  <a:gd name="T21" fmla="*/ 180 h 241"/>
                  <a:gd name="T22" fmla="*/ 37 w 238"/>
                  <a:gd name="T23" fmla="*/ 241 h 241"/>
                  <a:gd name="T24" fmla="*/ 0 w 238"/>
                  <a:gd name="T25" fmla="*/ 241 h 241"/>
                  <a:gd name="T26" fmla="*/ 105 w 238"/>
                  <a:gd name="T2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8" h="241">
                    <a:moveTo>
                      <a:pt x="119" y="42"/>
                    </a:moveTo>
                    <a:lnTo>
                      <a:pt x="72" y="152"/>
                    </a:lnTo>
                    <a:lnTo>
                      <a:pt x="163" y="152"/>
                    </a:lnTo>
                    <a:lnTo>
                      <a:pt x="119" y="42"/>
                    </a:lnTo>
                    <a:lnTo>
                      <a:pt x="119" y="42"/>
                    </a:lnTo>
                    <a:close/>
                    <a:moveTo>
                      <a:pt x="105" y="0"/>
                    </a:moveTo>
                    <a:lnTo>
                      <a:pt x="135" y="0"/>
                    </a:lnTo>
                    <a:lnTo>
                      <a:pt x="238" y="241"/>
                    </a:lnTo>
                    <a:lnTo>
                      <a:pt x="200" y="241"/>
                    </a:lnTo>
                    <a:lnTo>
                      <a:pt x="175" y="180"/>
                    </a:lnTo>
                    <a:lnTo>
                      <a:pt x="61" y="180"/>
                    </a:lnTo>
                    <a:lnTo>
                      <a:pt x="37" y="241"/>
                    </a:lnTo>
                    <a:lnTo>
                      <a:pt x="0" y="24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38"/>
              <p:cNvSpPr>
                <a:spLocks noEditPoints="1"/>
              </p:cNvSpPr>
              <p:nvPr userDrawn="1"/>
            </p:nvSpPr>
            <p:spPr bwMode="auto">
              <a:xfrm>
                <a:off x="7588250" y="5280026"/>
                <a:ext cx="269875" cy="382588"/>
              </a:xfrm>
              <a:custGeom>
                <a:avLst/>
                <a:gdLst>
                  <a:gd name="T0" fmla="*/ 33 w 170"/>
                  <a:gd name="T1" fmla="*/ 28 h 241"/>
                  <a:gd name="T2" fmla="*/ 33 w 170"/>
                  <a:gd name="T3" fmla="*/ 105 h 241"/>
                  <a:gd name="T4" fmla="*/ 75 w 170"/>
                  <a:gd name="T5" fmla="*/ 105 h 241"/>
                  <a:gd name="T6" fmla="*/ 91 w 170"/>
                  <a:gd name="T7" fmla="*/ 105 h 241"/>
                  <a:gd name="T8" fmla="*/ 105 w 170"/>
                  <a:gd name="T9" fmla="*/ 101 h 241"/>
                  <a:gd name="T10" fmla="*/ 117 w 170"/>
                  <a:gd name="T11" fmla="*/ 96 h 241"/>
                  <a:gd name="T12" fmla="*/ 124 w 170"/>
                  <a:gd name="T13" fmla="*/ 84 h 241"/>
                  <a:gd name="T14" fmla="*/ 126 w 170"/>
                  <a:gd name="T15" fmla="*/ 68 h 241"/>
                  <a:gd name="T16" fmla="*/ 124 w 170"/>
                  <a:gd name="T17" fmla="*/ 52 h 241"/>
                  <a:gd name="T18" fmla="*/ 117 w 170"/>
                  <a:gd name="T19" fmla="*/ 40 h 241"/>
                  <a:gd name="T20" fmla="*/ 105 w 170"/>
                  <a:gd name="T21" fmla="*/ 33 h 241"/>
                  <a:gd name="T22" fmla="*/ 91 w 170"/>
                  <a:gd name="T23" fmla="*/ 31 h 241"/>
                  <a:gd name="T24" fmla="*/ 75 w 170"/>
                  <a:gd name="T25" fmla="*/ 28 h 241"/>
                  <a:gd name="T26" fmla="*/ 33 w 170"/>
                  <a:gd name="T27" fmla="*/ 28 h 241"/>
                  <a:gd name="T28" fmla="*/ 0 w 170"/>
                  <a:gd name="T29" fmla="*/ 0 h 241"/>
                  <a:gd name="T30" fmla="*/ 84 w 170"/>
                  <a:gd name="T31" fmla="*/ 0 h 241"/>
                  <a:gd name="T32" fmla="*/ 112 w 170"/>
                  <a:gd name="T33" fmla="*/ 3 h 241"/>
                  <a:gd name="T34" fmla="*/ 131 w 170"/>
                  <a:gd name="T35" fmla="*/ 12 h 241"/>
                  <a:gd name="T36" fmla="*/ 145 w 170"/>
                  <a:gd name="T37" fmla="*/ 24 h 241"/>
                  <a:gd name="T38" fmla="*/ 154 w 170"/>
                  <a:gd name="T39" fmla="*/ 38 h 241"/>
                  <a:gd name="T40" fmla="*/ 158 w 170"/>
                  <a:gd name="T41" fmla="*/ 52 h 241"/>
                  <a:gd name="T42" fmla="*/ 161 w 170"/>
                  <a:gd name="T43" fmla="*/ 68 h 241"/>
                  <a:gd name="T44" fmla="*/ 156 w 170"/>
                  <a:gd name="T45" fmla="*/ 89 h 241"/>
                  <a:gd name="T46" fmla="*/ 145 w 170"/>
                  <a:gd name="T47" fmla="*/ 110 h 241"/>
                  <a:gd name="T48" fmla="*/ 126 w 170"/>
                  <a:gd name="T49" fmla="*/ 124 h 241"/>
                  <a:gd name="T50" fmla="*/ 103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8 w 170"/>
                  <a:gd name="T57" fmla="*/ 133 h 241"/>
                  <a:gd name="T58" fmla="*/ 33 w 170"/>
                  <a:gd name="T59" fmla="*/ 133 h 241"/>
                  <a:gd name="T60" fmla="*/ 33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3" y="28"/>
                    </a:moveTo>
                    <a:lnTo>
                      <a:pt x="33" y="105"/>
                    </a:lnTo>
                    <a:lnTo>
                      <a:pt x="75" y="105"/>
                    </a:lnTo>
                    <a:lnTo>
                      <a:pt x="91" y="105"/>
                    </a:lnTo>
                    <a:lnTo>
                      <a:pt x="105" y="101"/>
                    </a:lnTo>
                    <a:lnTo>
                      <a:pt x="117" y="96"/>
                    </a:lnTo>
                    <a:lnTo>
                      <a:pt x="124" y="84"/>
                    </a:lnTo>
                    <a:lnTo>
                      <a:pt x="126" y="68"/>
                    </a:lnTo>
                    <a:lnTo>
                      <a:pt x="124" y="52"/>
                    </a:lnTo>
                    <a:lnTo>
                      <a:pt x="117" y="40"/>
                    </a:lnTo>
                    <a:lnTo>
                      <a:pt x="105" y="33"/>
                    </a:lnTo>
                    <a:lnTo>
                      <a:pt x="91" y="31"/>
                    </a:lnTo>
                    <a:lnTo>
                      <a:pt x="75" y="28"/>
                    </a:lnTo>
                    <a:lnTo>
                      <a:pt x="33" y="28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12" y="3"/>
                    </a:lnTo>
                    <a:lnTo>
                      <a:pt x="131" y="12"/>
                    </a:lnTo>
                    <a:lnTo>
                      <a:pt x="145" y="24"/>
                    </a:lnTo>
                    <a:lnTo>
                      <a:pt x="154" y="38"/>
                    </a:lnTo>
                    <a:lnTo>
                      <a:pt x="158" y="52"/>
                    </a:lnTo>
                    <a:lnTo>
                      <a:pt x="161" y="68"/>
                    </a:lnTo>
                    <a:lnTo>
                      <a:pt x="156" y="89"/>
                    </a:lnTo>
                    <a:lnTo>
                      <a:pt x="145" y="110"/>
                    </a:lnTo>
                    <a:lnTo>
                      <a:pt x="126" y="124"/>
                    </a:lnTo>
                    <a:lnTo>
                      <a:pt x="103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8" y="133"/>
                    </a:lnTo>
                    <a:lnTo>
                      <a:pt x="33" y="133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39"/>
              <p:cNvSpPr>
                <a:spLocks/>
              </p:cNvSpPr>
              <p:nvPr userDrawn="1"/>
            </p:nvSpPr>
            <p:spPr bwMode="auto">
              <a:xfrm>
                <a:off x="7866063" y="5280026"/>
                <a:ext cx="295275" cy="382588"/>
              </a:xfrm>
              <a:custGeom>
                <a:avLst/>
                <a:gdLst>
                  <a:gd name="T0" fmla="*/ 0 w 186"/>
                  <a:gd name="T1" fmla="*/ 0 h 241"/>
                  <a:gd name="T2" fmla="*/ 186 w 186"/>
                  <a:gd name="T3" fmla="*/ 0 h 241"/>
                  <a:gd name="T4" fmla="*/ 186 w 186"/>
                  <a:gd name="T5" fmla="*/ 31 h 241"/>
                  <a:gd name="T6" fmla="*/ 109 w 186"/>
                  <a:gd name="T7" fmla="*/ 31 h 241"/>
                  <a:gd name="T8" fmla="*/ 109 w 186"/>
                  <a:gd name="T9" fmla="*/ 241 h 241"/>
                  <a:gd name="T10" fmla="*/ 77 w 186"/>
                  <a:gd name="T11" fmla="*/ 241 h 241"/>
                  <a:gd name="T12" fmla="*/ 77 w 186"/>
                  <a:gd name="T13" fmla="*/ 31 h 241"/>
                  <a:gd name="T14" fmla="*/ 0 w 186"/>
                  <a:gd name="T15" fmla="*/ 31 h 241"/>
                  <a:gd name="T16" fmla="*/ 0 w 186"/>
                  <a:gd name="T17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6" h="241">
                    <a:moveTo>
                      <a:pt x="0" y="0"/>
                    </a:moveTo>
                    <a:lnTo>
                      <a:pt x="186" y="0"/>
                    </a:lnTo>
                    <a:lnTo>
                      <a:pt x="186" y="31"/>
                    </a:lnTo>
                    <a:lnTo>
                      <a:pt x="109" y="31"/>
                    </a:lnTo>
                    <a:lnTo>
                      <a:pt x="109" y="241"/>
                    </a:lnTo>
                    <a:lnTo>
                      <a:pt x="77" y="241"/>
                    </a:lnTo>
                    <a:lnTo>
                      <a:pt x="77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40"/>
              <p:cNvSpPr>
                <a:spLocks/>
              </p:cNvSpPr>
              <p:nvPr userDrawn="1"/>
            </p:nvSpPr>
            <p:spPr bwMode="auto">
              <a:xfrm>
                <a:off x="8205788" y="5280026"/>
                <a:ext cx="254000" cy="382588"/>
              </a:xfrm>
              <a:custGeom>
                <a:avLst/>
                <a:gdLst>
                  <a:gd name="T0" fmla="*/ 0 w 160"/>
                  <a:gd name="T1" fmla="*/ 0 h 241"/>
                  <a:gd name="T2" fmla="*/ 156 w 160"/>
                  <a:gd name="T3" fmla="*/ 0 h 241"/>
                  <a:gd name="T4" fmla="*/ 156 w 160"/>
                  <a:gd name="T5" fmla="*/ 31 h 241"/>
                  <a:gd name="T6" fmla="*/ 32 w 160"/>
                  <a:gd name="T7" fmla="*/ 31 h 241"/>
                  <a:gd name="T8" fmla="*/ 32 w 160"/>
                  <a:gd name="T9" fmla="*/ 103 h 241"/>
                  <a:gd name="T10" fmla="*/ 146 w 160"/>
                  <a:gd name="T11" fmla="*/ 103 h 241"/>
                  <a:gd name="T12" fmla="*/ 146 w 160"/>
                  <a:gd name="T13" fmla="*/ 133 h 241"/>
                  <a:gd name="T14" fmla="*/ 32 w 160"/>
                  <a:gd name="T15" fmla="*/ 133 h 241"/>
                  <a:gd name="T16" fmla="*/ 32 w 160"/>
                  <a:gd name="T17" fmla="*/ 210 h 241"/>
                  <a:gd name="T18" fmla="*/ 160 w 160"/>
                  <a:gd name="T19" fmla="*/ 210 h 241"/>
                  <a:gd name="T20" fmla="*/ 160 w 160"/>
                  <a:gd name="T21" fmla="*/ 241 h 241"/>
                  <a:gd name="T22" fmla="*/ 0 w 160"/>
                  <a:gd name="T23" fmla="*/ 241 h 241"/>
                  <a:gd name="T24" fmla="*/ 0 w 160"/>
                  <a:gd name="T2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0" h="241">
                    <a:moveTo>
                      <a:pt x="0" y="0"/>
                    </a:moveTo>
                    <a:lnTo>
                      <a:pt x="156" y="0"/>
                    </a:lnTo>
                    <a:lnTo>
                      <a:pt x="156" y="31"/>
                    </a:lnTo>
                    <a:lnTo>
                      <a:pt x="32" y="31"/>
                    </a:lnTo>
                    <a:lnTo>
                      <a:pt x="32" y="103"/>
                    </a:lnTo>
                    <a:lnTo>
                      <a:pt x="146" y="103"/>
                    </a:lnTo>
                    <a:lnTo>
                      <a:pt x="146" y="133"/>
                    </a:lnTo>
                    <a:lnTo>
                      <a:pt x="32" y="133"/>
                    </a:lnTo>
                    <a:lnTo>
                      <a:pt x="32" y="210"/>
                    </a:lnTo>
                    <a:lnTo>
                      <a:pt x="160" y="210"/>
                    </a:lnTo>
                    <a:lnTo>
                      <a:pt x="160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41"/>
              <p:cNvSpPr>
                <a:spLocks noEditPoints="1"/>
              </p:cNvSpPr>
              <p:nvPr userDrawn="1"/>
            </p:nvSpPr>
            <p:spPr bwMode="auto">
              <a:xfrm>
                <a:off x="8526463" y="5280026"/>
                <a:ext cx="269875" cy="382588"/>
              </a:xfrm>
              <a:custGeom>
                <a:avLst/>
                <a:gdLst>
                  <a:gd name="T0" fmla="*/ 33 w 170"/>
                  <a:gd name="T1" fmla="*/ 28 h 241"/>
                  <a:gd name="T2" fmla="*/ 33 w 170"/>
                  <a:gd name="T3" fmla="*/ 105 h 241"/>
                  <a:gd name="T4" fmla="*/ 75 w 170"/>
                  <a:gd name="T5" fmla="*/ 105 h 241"/>
                  <a:gd name="T6" fmla="*/ 89 w 170"/>
                  <a:gd name="T7" fmla="*/ 105 h 241"/>
                  <a:gd name="T8" fmla="*/ 103 w 170"/>
                  <a:gd name="T9" fmla="*/ 101 h 241"/>
                  <a:gd name="T10" fmla="*/ 114 w 170"/>
                  <a:gd name="T11" fmla="*/ 96 h 241"/>
                  <a:gd name="T12" fmla="*/ 124 w 170"/>
                  <a:gd name="T13" fmla="*/ 84 h 241"/>
                  <a:gd name="T14" fmla="*/ 126 w 170"/>
                  <a:gd name="T15" fmla="*/ 68 h 241"/>
                  <a:gd name="T16" fmla="*/ 124 w 170"/>
                  <a:gd name="T17" fmla="*/ 52 h 241"/>
                  <a:gd name="T18" fmla="*/ 114 w 170"/>
                  <a:gd name="T19" fmla="*/ 40 h 241"/>
                  <a:gd name="T20" fmla="*/ 103 w 170"/>
                  <a:gd name="T21" fmla="*/ 33 h 241"/>
                  <a:gd name="T22" fmla="*/ 89 w 170"/>
                  <a:gd name="T23" fmla="*/ 31 h 241"/>
                  <a:gd name="T24" fmla="*/ 75 w 170"/>
                  <a:gd name="T25" fmla="*/ 28 h 241"/>
                  <a:gd name="T26" fmla="*/ 33 w 170"/>
                  <a:gd name="T27" fmla="*/ 28 h 241"/>
                  <a:gd name="T28" fmla="*/ 0 w 170"/>
                  <a:gd name="T29" fmla="*/ 0 h 241"/>
                  <a:gd name="T30" fmla="*/ 84 w 170"/>
                  <a:gd name="T31" fmla="*/ 0 h 241"/>
                  <a:gd name="T32" fmla="*/ 110 w 170"/>
                  <a:gd name="T33" fmla="*/ 3 h 241"/>
                  <a:gd name="T34" fmla="*/ 131 w 170"/>
                  <a:gd name="T35" fmla="*/ 12 h 241"/>
                  <a:gd name="T36" fmla="*/ 145 w 170"/>
                  <a:gd name="T37" fmla="*/ 24 h 241"/>
                  <a:gd name="T38" fmla="*/ 154 w 170"/>
                  <a:gd name="T39" fmla="*/ 38 h 241"/>
                  <a:gd name="T40" fmla="*/ 159 w 170"/>
                  <a:gd name="T41" fmla="*/ 52 h 241"/>
                  <a:gd name="T42" fmla="*/ 161 w 170"/>
                  <a:gd name="T43" fmla="*/ 68 h 241"/>
                  <a:gd name="T44" fmla="*/ 156 w 170"/>
                  <a:gd name="T45" fmla="*/ 89 h 241"/>
                  <a:gd name="T46" fmla="*/ 145 w 170"/>
                  <a:gd name="T47" fmla="*/ 110 h 241"/>
                  <a:gd name="T48" fmla="*/ 126 w 170"/>
                  <a:gd name="T49" fmla="*/ 124 h 241"/>
                  <a:gd name="T50" fmla="*/ 100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8 w 170"/>
                  <a:gd name="T57" fmla="*/ 133 h 241"/>
                  <a:gd name="T58" fmla="*/ 33 w 170"/>
                  <a:gd name="T59" fmla="*/ 133 h 241"/>
                  <a:gd name="T60" fmla="*/ 33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3" y="28"/>
                    </a:moveTo>
                    <a:lnTo>
                      <a:pt x="33" y="105"/>
                    </a:lnTo>
                    <a:lnTo>
                      <a:pt x="75" y="105"/>
                    </a:lnTo>
                    <a:lnTo>
                      <a:pt x="89" y="105"/>
                    </a:lnTo>
                    <a:lnTo>
                      <a:pt x="103" y="101"/>
                    </a:lnTo>
                    <a:lnTo>
                      <a:pt x="114" y="96"/>
                    </a:lnTo>
                    <a:lnTo>
                      <a:pt x="124" y="84"/>
                    </a:lnTo>
                    <a:lnTo>
                      <a:pt x="126" y="68"/>
                    </a:lnTo>
                    <a:lnTo>
                      <a:pt x="124" y="52"/>
                    </a:lnTo>
                    <a:lnTo>
                      <a:pt x="114" y="40"/>
                    </a:lnTo>
                    <a:lnTo>
                      <a:pt x="103" y="33"/>
                    </a:lnTo>
                    <a:lnTo>
                      <a:pt x="89" y="31"/>
                    </a:lnTo>
                    <a:lnTo>
                      <a:pt x="75" y="28"/>
                    </a:lnTo>
                    <a:lnTo>
                      <a:pt x="33" y="28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10" y="3"/>
                    </a:lnTo>
                    <a:lnTo>
                      <a:pt x="131" y="12"/>
                    </a:lnTo>
                    <a:lnTo>
                      <a:pt x="145" y="24"/>
                    </a:lnTo>
                    <a:lnTo>
                      <a:pt x="154" y="38"/>
                    </a:lnTo>
                    <a:lnTo>
                      <a:pt x="159" y="52"/>
                    </a:lnTo>
                    <a:lnTo>
                      <a:pt x="161" y="68"/>
                    </a:lnTo>
                    <a:lnTo>
                      <a:pt x="156" y="89"/>
                    </a:lnTo>
                    <a:lnTo>
                      <a:pt x="145" y="110"/>
                    </a:lnTo>
                    <a:lnTo>
                      <a:pt x="126" y="124"/>
                    </a:lnTo>
                    <a:lnTo>
                      <a:pt x="100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8" y="133"/>
                    </a:lnTo>
                    <a:lnTo>
                      <a:pt x="33" y="133"/>
                    </a:lnTo>
                    <a:lnTo>
                      <a:pt x="33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42"/>
              <p:cNvSpPr>
                <a:spLocks/>
              </p:cNvSpPr>
              <p:nvPr userDrawn="1"/>
            </p:nvSpPr>
            <p:spPr bwMode="auto">
              <a:xfrm>
                <a:off x="8937625" y="5280026"/>
                <a:ext cx="512763" cy="382588"/>
              </a:xfrm>
              <a:custGeom>
                <a:avLst/>
                <a:gdLst>
                  <a:gd name="T0" fmla="*/ 0 w 323"/>
                  <a:gd name="T1" fmla="*/ 0 h 241"/>
                  <a:gd name="T2" fmla="*/ 35 w 323"/>
                  <a:gd name="T3" fmla="*/ 0 h 241"/>
                  <a:gd name="T4" fmla="*/ 86 w 323"/>
                  <a:gd name="T5" fmla="*/ 192 h 241"/>
                  <a:gd name="T6" fmla="*/ 86 w 323"/>
                  <a:gd name="T7" fmla="*/ 192 h 241"/>
                  <a:gd name="T8" fmla="*/ 144 w 323"/>
                  <a:gd name="T9" fmla="*/ 0 h 241"/>
                  <a:gd name="T10" fmla="*/ 181 w 323"/>
                  <a:gd name="T11" fmla="*/ 0 h 241"/>
                  <a:gd name="T12" fmla="*/ 237 w 323"/>
                  <a:gd name="T13" fmla="*/ 192 h 241"/>
                  <a:gd name="T14" fmla="*/ 237 w 323"/>
                  <a:gd name="T15" fmla="*/ 192 h 241"/>
                  <a:gd name="T16" fmla="*/ 291 w 323"/>
                  <a:gd name="T17" fmla="*/ 0 h 241"/>
                  <a:gd name="T18" fmla="*/ 323 w 323"/>
                  <a:gd name="T19" fmla="*/ 0 h 241"/>
                  <a:gd name="T20" fmla="*/ 253 w 323"/>
                  <a:gd name="T21" fmla="*/ 241 h 241"/>
                  <a:gd name="T22" fmla="*/ 221 w 323"/>
                  <a:gd name="T23" fmla="*/ 241 h 241"/>
                  <a:gd name="T24" fmla="*/ 163 w 323"/>
                  <a:gd name="T25" fmla="*/ 45 h 241"/>
                  <a:gd name="T26" fmla="*/ 160 w 323"/>
                  <a:gd name="T27" fmla="*/ 45 h 241"/>
                  <a:gd name="T28" fmla="*/ 104 w 323"/>
                  <a:gd name="T29" fmla="*/ 241 h 241"/>
                  <a:gd name="T30" fmla="*/ 69 w 323"/>
                  <a:gd name="T31" fmla="*/ 241 h 241"/>
                  <a:gd name="T32" fmla="*/ 0 w 323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3" h="241">
                    <a:moveTo>
                      <a:pt x="0" y="0"/>
                    </a:moveTo>
                    <a:lnTo>
                      <a:pt x="35" y="0"/>
                    </a:lnTo>
                    <a:lnTo>
                      <a:pt x="86" y="192"/>
                    </a:lnTo>
                    <a:lnTo>
                      <a:pt x="86" y="192"/>
                    </a:lnTo>
                    <a:lnTo>
                      <a:pt x="144" y="0"/>
                    </a:lnTo>
                    <a:lnTo>
                      <a:pt x="181" y="0"/>
                    </a:lnTo>
                    <a:lnTo>
                      <a:pt x="237" y="192"/>
                    </a:lnTo>
                    <a:lnTo>
                      <a:pt x="237" y="192"/>
                    </a:lnTo>
                    <a:lnTo>
                      <a:pt x="291" y="0"/>
                    </a:lnTo>
                    <a:lnTo>
                      <a:pt x="323" y="0"/>
                    </a:lnTo>
                    <a:lnTo>
                      <a:pt x="253" y="241"/>
                    </a:lnTo>
                    <a:lnTo>
                      <a:pt x="221" y="241"/>
                    </a:lnTo>
                    <a:lnTo>
                      <a:pt x="163" y="45"/>
                    </a:lnTo>
                    <a:lnTo>
                      <a:pt x="160" y="45"/>
                    </a:lnTo>
                    <a:lnTo>
                      <a:pt x="104" y="241"/>
                    </a:lnTo>
                    <a:lnTo>
                      <a:pt x="69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43"/>
              <p:cNvSpPr>
                <a:spLocks noEditPoints="1"/>
              </p:cNvSpPr>
              <p:nvPr userDrawn="1"/>
            </p:nvSpPr>
            <p:spPr bwMode="auto">
              <a:xfrm>
                <a:off x="9469438" y="5268913"/>
                <a:ext cx="395288" cy="400050"/>
              </a:xfrm>
              <a:custGeom>
                <a:avLst/>
                <a:gdLst>
                  <a:gd name="T0" fmla="*/ 123 w 249"/>
                  <a:gd name="T1" fmla="*/ 33 h 252"/>
                  <a:gd name="T2" fmla="*/ 93 w 249"/>
                  <a:gd name="T3" fmla="*/ 38 h 252"/>
                  <a:gd name="T4" fmla="*/ 70 w 249"/>
                  <a:gd name="T5" fmla="*/ 49 h 252"/>
                  <a:gd name="T6" fmla="*/ 51 w 249"/>
                  <a:gd name="T7" fmla="*/ 70 h 252"/>
                  <a:gd name="T8" fmla="*/ 37 w 249"/>
                  <a:gd name="T9" fmla="*/ 98 h 252"/>
                  <a:gd name="T10" fmla="*/ 35 w 249"/>
                  <a:gd name="T11" fmla="*/ 126 h 252"/>
                  <a:gd name="T12" fmla="*/ 37 w 249"/>
                  <a:gd name="T13" fmla="*/ 157 h 252"/>
                  <a:gd name="T14" fmla="*/ 51 w 249"/>
                  <a:gd name="T15" fmla="*/ 182 h 252"/>
                  <a:gd name="T16" fmla="*/ 70 w 249"/>
                  <a:gd name="T17" fmla="*/ 203 h 252"/>
                  <a:gd name="T18" fmla="*/ 93 w 249"/>
                  <a:gd name="T19" fmla="*/ 217 h 252"/>
                  <a:gd name="T20" fmla="*/ 123 w 249"/>
                  <a:gd name="T21" fmla="*/ 222 h 252"/>
                  <a:gd name="T22" fmla="*/ 153 w 249"/>
                  <a:gd name="T23" fmla="*/ 217 h 252"/>
                  <a:gd name="T24" fmla="*/ 179 w 249"/>
                  <a:gd name="T25" fmla="*/ 203 h 252"/>
                  <a:gd name="T26" fmla="*/ 198 w 249"/>
                  <a:gd name="T27" fmla="*/ 182 h 252"/>
                  <a:gd name="T28" fmla="*/ 209 w 249"/>
                  <a:gd name="T29" fmla="*/ 157 h 252"/>
                  <a:gd name="T30" fmla="*/ 214 w 249"/>
                  <a:gd name="T31" fmla="*/ 126 h 252"/>
                  <a:gd name="T32" fmla="*/ 209 w 249"/>
                  <a:gd name="T33" fmla="*/ 98 h 252"/>
                  <a:gd name="T34" fmla="*/ 198 w 249"/>
                  <a:gd name="T35" fmla="*/ 70 h 252"/>
                  <a:gd name="T36" fmla="*/ 179 w 249"/>
                  <a:gd name="T37" fmla="*/ 49 h 252"/>
                  <a:gd name="T38" fmla="*/ 153 w 249"/>
                  <a:gd name="T39" fmla="*/ 38 h 252"/>
                  <a:gd name="T40" fmla="*/ 123 w 249"/>
                  <a:gd name="T41" fmla="*/ 33 h 252"/>
                  <a:gd name="T42" fmla="*/ 123 w 249"/>
                  <a:gd name="T43" fmla="*/ 0 h 252"/>
                  <a:gd name="T44" fmla="*/ 165 w 249"/>
                  <a:gd name="T45" fmla="*/ 7 h 252"/>
                  <a:gd name="T46" fmla="*/ 200 w 249"/>
                  <a:gd name="T47" fmla="*/ 26 h 252"/>
                  <a:gd name="T48" fmla="*/ 226 w 249"/>
                  <a:gd name="T49" fmla="*/ 52 h 252"/>
                  <a:gd name="T50" fmla="*/ 242 w 249"/>
                  <a:gd name="T51" fmla="*/ 87 h 252"/>
                  <a:gd name="T52" fmla="*/ 249 w 249"/>
                  <a:gd name="T53" fmla="*/ 126 h 252"/>
                  <a:gd name="T54" fmla="*/ 242 w 249"/>
                  <a:gd name="T55" fmla="*/ 168 h 252"/>
                  <a:gd name="T56" fmla="*/ 226 w 249"/>
                  <a:gd name="T57" fmla="*/ 203 h 252"/>
                  <a:gd name="T58" fmla="*/ 200 w 249"/>
                  <a:gd name="T59" fmla="*/ 229 h 252"/>
                  <a:gd name="T60" fmla="*/ 165 w 249"/>
                  <a:gd name="T61" fmla="*/ 248 h 252"/>
                  <a:gd name="T62" fmla="*/ 123 w 249"/>
                  <a:gd name="T63" fmla="*/ 252 h 252"/>
                  <a:gd name="T64" fmla="*/ 84 w 249"/>
                  <a:gd name="T65" fmla="*/ 248 h 252"/>
                  <a:gd name="T66" fmla="*/ 49 w 249"/>
                  <a:gd name="T67" fmla="*/ 229 h 252"/>
                  <a:gd name="T68" fmla="*/ 23 w 249"/>
                  <a:gd name="T69" fmla="*/ 203 h 252"/>
                  <a:gd name="T70" fmla="*/ 4 w 249"/>
                  <a:gd name="T71" fmla="*/ 168 h 252"/>
                  <a:gd name="T72" fmla="*/ 0 w 249"/>
                  <a:gd name="T73" fmla="*/ 126 h 252"/>
                  <a:gd name="T74" fmla="*/ 4 w 249"/>
                  <a:gd name="T75" fmla="*/ 87 h 252"/>
                  <a:gd name="T76" fmla="*/ 23 w 249"/>
                  <a:gd name="T77" fmla="*/ 52 h 252"/>
                  <a:gd name="T78" fmla="*/ 49 w 249"/>
                  <a:gd name="T79" fmla="*/ 26 h 252"/>
                  <a:gd name="T80" fmla="*/ 84 w 249"/>
                  <a:gd name="T81" fmla="*/ 7 h 252"/>
                  <a:gd name="T82" fmla="*/ 123 w 249"/>
                  <a:gd name="T83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9" h="252">
                    <a:moveTo>
                      <a:pt x="123" y="33"/>
                    </a:moveTo>
                    <a:lnTo>
                      <a:pt x="93" y="38"/>
                    </a:lnTo>
                    <a:lnTo>
                      <a:pt x="70" y="49"/>
                    </a:lnTo>
                    <a:lnTo>
                      <a:pt x="51" y="70"/>
                    </a:lnTo>
                    <a:lnTo>
                      <a:pt x="37" y="98"/>
                    </a:lnTo>
                    <a:lnTo>
                      <a:pt x="35" y="126"/>
                    </a:lnTo>
                    <a:lnTo>
                      <a:pt x="37" y="157"/>
                    </a:lnTo>
                    <a:lnTo>
                      <a:pt x="51" y="182"/>
                    </a:lnTo>
                    <a:lnTo>
                      <a:pt x="70" y="203"/>
                    </a:lnTo>
                    <a:lnTo>
                      <a:pt x="93" y="217"/>
                    </a:lnTo>
                    <a:lnTo>
                      <a:pt x="123" y="222"/>
                    </a:lnTo>
                    <a:lnTo>
                      <a:pt x="153" y="217"/>
                    </a:lnTo>
                    <a:lnTo>
                      <a:pt x="179" y="203"/>
                    </a:lnTo>
                    <a:lnTo>
                      <a:pt x="198" y="182"/>
                    </a:lnTo>
                    <a:lnTo>
                      <a:pt x="209" y="157"/>
                    </a:lnTo>
                    <a:lnTo>
                      <a:pt x="214" y="126"/>
                    </a:lnTo>
                    <a:lnTo>
                      <a:pt x="209" y="98"/>
                    </a:lnTo>
                    <a:lnTo>
                      <a:pt x="198" y="70"/>
                    </a:lnTo>
                    <a:lnTo>
                      <a:pt x="179" y="49"/>
                    </a:lnTo>
                    <a:lnTo>
                      <a:pt x="153" y="38"/>
                    </a:lnTo>
                    <a:lnTo>
                      <a:pt x="123" y="33"/>
                    </a:lnTo>
                    <a:close/>
                    <a:moveTo>
                      <a:pt x="123" y="0"/>
                    </a:moveTo>
                    <a:lnTo>
                      <a:pt x="165" y="7"/>
                    </a:lnTo>
                    <a:lnTo>
                      <a:pt x="200" y="26"/>
                    </a:lnTo>
                    <a:lnTo>
                      <a:pt x="226" y="52"/>
                    </a:lnTo>
                    <a:lnTo>
                      <a:pt x="242" y="87"/>
                    </a:lnTo>
                    <a:lnTo>
                      <a:pt x="249" y="126"/>
                    </a:lnTo>
                    <a:lnTo>
                      <a:pt x="242" y="168"/>
                    </a:lnTo>
                    <a:lnTo>
                      <a:pt x="226" y="203"/>
                    </a:lnTo>
                    <a:lnTo>
                      <a:pt x="200" y="229"/>
                    </a:lnTo>
                    <a:lnTo>
                      <a:pt x="165" y="248"/>
                    </a:lnTo>
                    <a:lnTo>
                      <a:pt x="123" y="252"/>
                    </a:lnTo>
                    <a:lnTo>
                      <a:pt x="84" y="248"/>
                    </a:lnTo>
                    <a:lnTo>
                      <a:pt x="49" y="229"/>
                    </a:lnTo>
                    <a:lnTo>
                      <a:pt x="23" y="203"/>
                    </a:lnTo>
                    <a:lnTo>
                      <a:pt x="4" y="168"/>
                    </a:lnTo>
                    <a:lnTo>
                      <a:pt x="0" y="126"/>
                    </a:lnTo>
                    <a:lnTo>
                      <a:pt x="4" y="87"/>
                    </a:lnTo>
                    <a:lnTo>
                      <a:pt x="23" y="52"/>
                    </a:lnTo>
                    <a:lnTo>
                      <a:pt x="49" y="26"/>
                    </a:lnTo>
                    <a:lnTo>
                      <a:pt x="84" y="7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44"/>
              <p:cNvSpPr>
                <a:spLocks noEditPoints="1"/>
              </p:cNvSpPr>
              <p:nvPr userDrawn="1"/>
            </p:nvSpPr>
            <p:spPr bwMode="auto">
              <a:xfrm>
                <a:off x="9931400" y="5280026"/>
                <a:ext cx="269875" cy="382588"/>
              </a:xfrm>
              <a:custGeom>
                <a:avLst/>
                <a:gdLst>
                  <a:gd name="T0" fmla="*/ 32 w 170"/>
                  <a:gd name="T1" fmla="*/ 28 h 241"/>
                  <a:gd name="T2" fmla="*/ 32 w 170"/>
                  <a:gd name="T3" fmla="*/ 105 h 241"/>
                  <a:gd name="T4" fmla="*/ 74 w 170"/>
                  <a:gd name="T5" fmla="*/ 105 h 241"/>
                  <a:gd name="T6" fmla="*/ 88 w 170"/>
                  <a:gd name="T7" fmla="*/ 105 h 241"/>
                  <a:gd name="T8" fmla="*/ 102 w 170"/>
                  <a:gd name="T9" fmla="*/ 101 h 241"/>
                  <a:gd name="T10" fmla="*/ 114 w 170"/>
                  <a:gd name="T11" fmla="*/ 96 h 241"/>
                  <a:gd name="T12" fmla="*/ 123 w 170"/>
                  <a:gd name="T13" fmla="*/ 84 h 241"/>
                  <a:gd name="T14" fmla="*/ 125 w 170"/>
                  <a:gd name="T15" fmla="*/ 68 h 241"/>
                  <a:gd name="T16" fmla="*/ 123 w 170"/>
                  <a:gd name="T17" fmla="*/ 52 h 241"/>
                  <a:gd name="T18" fmla="*/ 114 w 170"/>
                  <a:gd name="T19" fmla="*/ 40 h 241"/>
                  <a:gd name="T20" fmla="*/ 102 w 170"/>
                  <a:gd name="T21" fmla="*/ 33 h 241"/>
                  <a:gd name="T22" fmla="*/ 88 w 170"/>
                  <a:gd name="T23" fmla="*/ 31 h 241"/>
                  <a:gd name="T24" fmla="*/ 74 w 170"/>
                  <a:gd name="T25" fmla="*/ 28 h 241"/>
                  <a:gd name="T26" fmla="*/ 32 w 170"/>
                  <a:gd name="T27" fmla="*/ 28 h 241"/>
                  <a:gd name="T28" fmla="*/ 0 w 170"/>
                  <a:gd name="T29" fmla="*/ 0 h 241"/>
                  <a:gd name="T30" fmla="*/ 83 w 170"/>
                  <a:gd name="T31" fmla="*/ 0 h 241"/>
                  <a:gd name="T32" fmla="*/ 109 w 170"/>
                  <a:gd name="T33" fmla="*/ 3 h 241"/>
                  <a:gd name="T34" fmla="*/ 130 w 170"/>
                  <a:gd name="T35" fmla="*/ 12 h 241"/>
                  <a:gd name="T36" fmla="*/ 144 w 170"/>
                  <a:gd name="T37" fmla="*/ 24 h 241"/>
                  <a:gd name="T38" fmla="*/ 153 w 170"/>
                  <a:gd name="T39" fmla="*/ 38 h 241"/>
                  <a:gd name="T40" fmla="*/ 158 w 170"/>
                  <a:gd name="T41" fmla="*/ 52 h 241"/>
                  <a:gd name="T42" fmla="*/ 160 w 170"/>
                  <a:gd name="T43" fmla="*/ 68 h 241"/>
                  <a:gd name="T44" fmla="*/ 156 w 170"/>
                  <a:gd name="T45" fmla="*/ 89 h 241"/>
                  <a:gd name="T46" fmla="*/ 144 w 170"/>
                  <a:gd name="T47" fmla="*/ 110 h 241"/>
                  <a:gd name="T48" fmla="*/ 125 w 170"/>
                  <a:gd name="T49" fmla="*/ 124 h 241"/>
                  <a:gd name="T50" fmla="*/ 100 w 170"/>
                  <a:gd name="T51" fmla="*/ 131 h 241"/>
                  <a:gd name="T52" fmla="*/ 170 w 170"/>
                  <a:gd name="T53" fmla="*/ 241 h 241"/>
                  <a:gd name="T54" fmla="*/ 128 w 170"/>
                  <a:gd name="T55" fmla="*/ 241 h 241"/>
                  <a:gd name="T56" fmla="*/ 67 w 170"/>
                  <a:gd name="T57" fmla="*/ 133 h 241"/>
                  <a:gd name="T58" fmla="*/ 32 w 170"/>
                  <a:gd name="T59" fmla="*/ 133 h 241"/>
                  <a:gd name="T60" fmla="*/ 32 w 170"/>
                  <a:gd name="T61" fmla="*/ 241 h 241"/>
                  <a:gd name="T62" fmla="*/ 0 w 170"/>
                  <a:gd name="T63" fmla="*/ 241 h 241"/>
                  <a:gd name="T64" fmla="*/ 0 w 170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" h="241">
                    <a:moveTo>
                      <a:pt x="32" y="28"/>
                    </a:moveTo>
                    <a:lnTo>
                      <a:pt x="32" y="105"/>
                    </a:lnTo>
                    <a:lnTo>
                      <a:pt x="74" y="105"/>
                    </a:lnTo>
                    <a:lnTo>
                      <a:pt x="88" y="105"/>
                    </a:lnTo>
                    <a:lnTo>
                      <a:pt x="102" y="101"/>
                    </a:lnTo>
                    <a:lnTo>
                      <a:pt x="114" y="96"/>
                    </a:lnTo>
                    <a:lnTo>
                      <a:pt x="123" y="84"/>
                    </a:lnTo>
                    <a:lnTo>
                      <a:pt x="125" y="68"/>
                    </a:lnTo>
                    <a:lnTo>
                      <a:pt x="123" y="52"/>
                    </a:lnTo>
                    <a:lnTo>
                      <a:pt x="114" y="40"/>
                    </a:lnTo>
                    <a:lnTo>
                      <a:pt x="102" y="33"/>
                    </a:lnTo>
                    <a:lnTo>
                      <a:pt x="88" y="31"/>
                    </a:lnTo>
                    <a:lnTo>
                      <a:pt x="74" y="28"/>
                    </a:lnTo>
                    <a:lnTo>
                      <a:pt x="32" y="28"/>
                    </a:lnTo>
                    <a:close/>
                    <a:moveTo>
                      <a:pt x="0" y="0"/>
                    </a:moveTo>
                    <a:lnTo>
                      <a:pt x="83" y="0"/>
                    </a:lnTo>
                    <a:lnTo>
                      <a:pt x="109" y="3"/>
                    </a:lnTo>
                    <a:lnTo>
                      <a:pt x="130" y="12"/>
                    </a:lnTo>
                    <a:lnTo>
                      <a:pt x="144" y="24"/>
                    </a:lnTo>
                    <a:lnTo>
                      <a:pt x="153" y="38"/>
                    </a:lnTo>
                    <a:lnTo>
                      <a:pt x="158" y="52"/>
                    </a:lnTo>
                    <a:lnTo>
                      <a:pt x="160" y="68"/>
                    </a:lnTo>
                    <a:lnTo>
                      <a:pt x="156" y="89"/>
                    </a:lnTo>
                    <a:lnTo>
                      <a:pt x="144" y="110"/>
                    </a:lnTo>
                    <a:lnTo>
                      <a:pt x="125" y="124"/>
                    </a:lnTo>
                    <a:lnTo>
                      <a:pt x="100" y="131"/>
                    </a:lnTo>
                    <a:lnTo>
                      <a:pt x="170" y="241"/>
                    </a:lnTo>
                    <a:lnTo>
                      <a:pt x="128" y="241"/>
                    </a:lnTo>
                    <a:lnTo>
                      <a:pt x="67" y="133"/>
                    </a:lnTo>
                    <a:lnTo>
                      <a:pt x="32" y="133"/>
                    </a:lnTo>
                    <a:lnTo>
                      <a:pt x="3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45"/>
              <p:cNvSpPr>
                <a:spLocks/>
              </p:cNvSpPr>
              <p:nvPr userDrawn="1"/>
            </p:nvSpPr>
            <p:spPr bwMode="auto">
              <a:xfrm>
                <a:off x="10248900" y="5280026"/>
                <a:ext cx="225425" cy="382588"/>
              </a:xfrm>
              <a:custGeom>
                <a:avLst/>
                <a:gdLst>
                  <a:gd name="T0" fmla="*/ 0 w 142"/>
                  <a:gd name="T1" fmla="*/ 0 h 241"/>
                  <a:gd name="T2" fmla="*/ 32 w 142"/>
                  <a:gd name="T3" fmla="*/ 0 h 241"/>
                  <a:gd name="T4" fmla="*/ 32 w 142"/>
                  <a:gd name="T5" fmla="*/ 210 h 241"/>
                  <a:gd name="T6" fmla="*/ 142 w 142"/>
                  <a:gd name="T7" fmla="*/ 210 h 241"/>
                  <a:gd name="T8" fmla="*/ 142 w 142"/>
                  <a:gd name="T9" fmla="*/ 241 h 241"/>
                  <a:gd name="T10" fmla="*/ 0 w 142"/>
                  <a:gd name="T11" fmla="*/ 241 h 241"/>
                  <a:gd name="T12" fmla="*/ 0 w 142"/>
                  <a:gd name="T1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2" h="241">
                    <a:moveTo>
                      <a:pt x="0" y="0"/>
                    </a:moveTo>
                    <a:lnTo>
                      <a:pt x="32" y="0"/>
                    </a:lnTo>
                    <a:lnTo>
                      <a:pt x="32" y="210"/>
                    </a:lnTo>
                    <a:lnTo>
                      <a:pt x="142" y="210"/>
                    </a:lnTo>
                    <a:lnTo>
                      <a:pt x="142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46"/>
              <p:cNvSpPr>
                <a:spLocks noEditPoints="1"/>
              </p:cNvSpPr>
              <p:nvPr userDrawn="1"/>
            </p:nvSpPr>
            <p:spPr bwMode="auto">
              <a:xfrm>
                <a:off x="10510838" y="5280026"/>
                <a:ext cx="328613" cy="382588"/>
              </a:xfrm>
              <a:custGeom>
                <a:avLst/>
                <a:gdLst>
                  <a:gd name="T0" fmla="*/ 33 w 207"/>
                  <a:gd name="T1" fmla="*/ 31 h 241"/>
                  <a:gd name="T2" fmla="*/ 33 w 207"/>
                  <a:gd name="T3" fmla="*/ 210 h 241"/>
                  <a:gd name="T4" fmla="*/ 72 w 207"/>
                  <a:gd name="T5" fmla="*/ 210 h 241"/>
                  <a:gd name="T6" fmla="*/ 105 w 207"/>
                  <a:gd name="T7" fmla="*/ 206 h 241"/>
                  <a:gd name="T8" fmla="*/ 133 w 207"/>
                  <a:gd name="T9" fmla="*/ 194 h 241"/>
                  <a:gd name="T10" fmla="*/ 154 w 207"/>
                  <a:gd name="T11" fmla="*/ 178 h 241"/>
                  <a:gd name="T12" fmla="*/ 168 w 207"/>
                  <a:gd name="T13" fmla="*/ 152 h 241"/>
                  <a:gd name="T14" fmla="*/ 175 w 207"/>
                  <a:gd name="T15" fmla="*/ 119 h 241"/>
                  <a:gd name="T16" fmla="*/ 172 w 207"/>
                  <a:gd name="T17" fmla="*/ 105 h 241"/>
                  <a:gd name="T18" fmla="*/ 170 w 207"/>
                  <a:gd name="T19" fmla="*/ 89 h 241"/>
                  <a:gd name="T20" fmla="*/ 161 w 207"/>
                  <a:gd name="T21" fmla="*/ 73 h 241"/>
                  <a:gd name="T22" fmla="*/ 149 w 207"/>
                  <a:gd name="T23" fmla="*/ 56 h 241"/>
                  <a:gd name="T24" fmla="*/ 133 w 207"/>
                  <a:gd name="T25" fmla="*/ 42 h 241"/>
                  <a:gd name="T26" fmla="*/ 109 w 207"/>
                  <a:gd name="T27" fmla="*/ 35 h 241"/>
                  <a:gd name="T28" fmla="*/ 82 w 207"/>
                  <a:gd name="T29" fmla="*/ 31 h 241"/>
                  <a:gd name="T30" fmla="*/ 33 w 207"/>
                  <a:gd name="T31" fmla="*/ 31 h 241"/>
                  <a:gd name="T32" fmla="*/ 0 w 207"/>
                  <a:gd name="T33" fmla="*/ 0 h 241"/>
                  <a:gd name="T34" fmla="*/ 84 w 207"/>
                  <a:gd name="T35" fmla="*/ 0 h 241"/>
                  <a:gd name="T36" fmla="*/ 121 w 207"/>
                  <a:gd name="T37" fmla="*/ 5 h 241"/>
                  <a:gd name="T38" fmla="*/ 151 w 207"/>
                  <a:gd name="T39" fmla="*/ 17 h 241"/>
                  <a:gd name="T40" fmla="*/ 175 w 207"/>
                  <a:gd name="T41" fmla="*/ 33 h 241"/>
                  <a:gd name="T42" fmla="*/ 191 w 207"/>
                  <a:gd name="T43" fmla="*/ 54 h 241"/>
                  <a:gd name="T44" fmla="*/ 200 w 207"/>
                  <a:gd name="T45" fmla="*/ 77 h 241"/>
                  <a:gd name="T46" fmla="*/ 207 w 207"/>
                  <a:gd name="T47" fmla="*/ 101 h 241"/>
                  <a:gd name="T48" fmla="*/ 207 w 207"/>
                  <a:gd name="T49" fmla="*/ 119 h 241"/>
                  <a:gd name="T50" fmla="*/ 205 w 207"/>
                  <a:gd name="T51" fmla="*/ 150 h 241"/>
                  <a:gd name="T52" fmla="*/ 193 w 207"/>
                  <a:gd name="T53" fmla="*/ 178 h 241"/>
                  <a:gd name="T54" fmla="*/ 175 w 207"/>
                  <a:gd name="T55" fmla="*/ 203 h 241"/>
                  <a:gd name="T56" fmla="*/ 149 w 207"/>
                  <a:gd name="T57" fmla="*/ 222 h 241"/>
                  <a:gd name="T58" fmla="*/ 116 w 207"/>
                  <a:gd name="T59" fmla="*/ 236 h 241"/>
                  <a:gd name="T60" fmla="*/ 77 w 207"/>
                  <a:gd name="T61" fmla="*/ 241 h 241"/>
                  <a:gd name="T62" fmla="*/ 0 w 207"/>
                  <a:gd name="T63" fmla="*/ 241 h 241"/>
                  <a:gd name="T64" fmla="*/ 0 w 207"/>
                  <a:gd name="T6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7" h="241">
                    <a:moveTo>
                      <a:pt x="33" y="31"/>
                    </a:moveTo>
                    <a:lnTo>
                      <a:pt x="33" y="210"/>
                    </a:lnTo>
                    <a:lnTo>
                      <a:pt x="72" y="210"/>
                    </a:lnTo>
                    <a:lnTo>
                      <a:pt x="105" y="206"/>
                    </a:lnTo>
                    <a:lnTo>
                      <a:pt x="133" y="194"/>
                    </a:lnTo>
                    <a:lnTo>
                      <a:pt x="154" y="178"/>
                    </a:lnTo>
                    <a:lnTo>
                      <a:pt x="168" y="152"/>
                    </a:lnTo>
                    <a:lnTo>
                      <a:pt x="175" y="119"/>
                    </a:lnTo>
                    <a:lnTo>
                      <a:pt x="172" y="105"/>
                    </a:lnTo>
                    <a:lnTo>
                      <a:pt x="170" y="89"/>
                    </a:lnTo>
                    <a:lnTo>
                      <a:pt x="161" y="73"/>
                    </a:lnTo>
                    <a:lnTo>
                      <a:pt x="149" y="56"/>
                    </a:lnTo>
                    <a:lnTo>
                      <a:pt x="133" y="42"/>
                    </a:lnTo>
                    <a:lnTo>
                      <a:pt x="109" y="35"/>
                    </a:lnTo>
                    <a:lnTo>
                      <a:pt x="82" y="31"/>
                    </a:lnTo>
                    <a:lnTo>
                      <a:pt x="33" y="31"/>
                    </a:lnTo>
                    <a:close/>
                    <a:moveTo>
                      <a:pt x="0" y="0"/>
                    </a:moveTo>
                    <a:lnTo>
                      <a:pt x="84" y="0"/>
                    </a:lnTo>
                    <a:lnTo>
                      <a:pt x="121" y="5"/>
                    </a:lnTo>
                    <a:lnTo>
                      <a:pt x="151" y="17"/>
                    </a:lnTo>
                    <a:lnTo>
                      <a:pt x="175" y="33"/>
                    </a:lnTo>
                    <a:lnTo>
                      <a:pt x="191" y="54"/>
                    </a:lnTo>
                    <a:lnTo>
                      <a:pt x="200" y="77"/>
                    </a:lnTo>
                    <a:lnTo>
                      <a:pt x="207" y="101"/>
                    </a:lnTo>
                    <a:lnTo>
                      <a:pt x="207" y="119"/>
                    </a:lnTo>
                    <a:lnTo>
                      <a:pt x="205" y="150"/>
                    </a:lnTo>
                    <a:lnTo>
                      <a:pt x="193" y="178"/>
                    </a:lnTo>
                    <a:lnTo>
                      <a:pt x="175" y="203"/>
                    </a:lnTo>
                    <a:lnTo>
                      <a:pt x="149" y="222"/>
                    </a:lnTo>
                    <a:lnTo>
                      <a:pt x="116" y="236"/>
                    </a:lnTo>
                    <a:lnTo>
                      <a:pt x="77" y="241"/>
                    </a:lnTo>
                    <a:lnTo>
                      <a:pt x="0" y="2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4" name="TextBox 93"/>
          <p:cNvSpPr txBox="1"/>
          <p:nvPr userDrawn="1"/>
        </p:nvSpPr>
        <p:spPr>
          <a:xfrm>
            <a:off x="2222985" y="6412230"/>
            <a:ext cx="77460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NXP and the NXP logo are trademarks of NXP B.V. All other product or service names are the property of their respective owners. © 2017 NXP B.V.</a:t>
            </a:r>
          </a:p>
        </p:txBody>
      </p:sp>
    </p:spTree>
    <p:extLst>
      <p:ext uri="{BB962C8B-B14F-4D97-AF65-F5344CB8AC3E}">
        <p14:creationId xmlns:p14="http://schemas.microsoft.com/office/powerpoint/2010/main" val="1748136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</p:sldLayoutIdLst>
  <p:transition>
    <p:fade/>
  </p:transition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4EE4E55-2121-4980-BEB5-DFDDD4736F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7131" y="2802864"/>
            <a:ext cx="8278289" cy="1020991"/>
          </a:xfrm>
        </p:spPr>
        <p:txBody>
          <a:bodyPr/>
          <a:lstStyle/>
          <a:p>
            <a:r>
              <a:rPr lang="en-US" altLang="zh-CN" dirty="0"/>
              <a:t>Jianfeng </a:t>
            </a:r>
            <a:r>
              <a:rPr lang="en-US" altLang="zh-CN" dirty="0" err="1"/>
              <a:t>qin</a:t>
            </a:r>
            <a:endParaRPr lang="en-US" altLang="zh-CN" dirty="0"/>
          </a:p>
          <a:p>
            <a:r>
              <a:rPr lang="en-US" altLang="zh-CN" dirty="0" err="1"/>
              <a:t>lIN</a:t>
            </a:r>
            <a:r>
              <a:rPr lang="en-US" altLang="zh-CN" dirty="0"/>
              <a:t> </a:t>
            </a:r>
            <a:r>
              <a:rPr lang="en-US" altLang="zh-CN" dirty="0" err="1"/>
              <a:t>tao</a:t>
            </a:r>
            <a:endParaRPr lang="en-US" altLang="zh-CN" dirty="0"/>
          </a:p>
          <a:p>
            <a:r>
              <a:rPr lang="en-US" altLang="zh-CN" dirty="0" err="1"/>
              <a:t>DongshenG</a:t>
            </a:r>
            <a:r>
              <a:rPr lang="en-US" altLang="zh-CN" dirty="0"/>
              <a:t> </a:t>
            </a:r>
            <a:r>
              <a:rPr lang="en-US" altLang="zh-CN" dirty="0" err="1"/>
              <a:t>zhang</a:t>
            </a:r>
            <a:endParaRPr lang="en-US" altLang="zh-CN" dirty="0"/>
          </a:p>
          <a:p>
            <a:endParaRPr lang="en-US" altLang="zh-CN" dirty="0"/>
          </a:p>
          <a:p>
            <a:r>
              <a:rPr lang="en-US" dirty="0"/>
              <a:t>	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A2F84E-F49D-49FD-ABA4-DA2EDCD900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7131" y="1869743"/>
            <a:ext cx="10776170" cy="832514"/>
          </a:xfrm>
        </p:spPr>
        <p:txBody>
          <a:bodyPr/>
          <a:lstStyle/>
          <a:p>
            <a:r>
              <a:rPr lang="en-US" dirty="0" err="1"/>
              <a:t>Nxp</a:t>
            </a:r>
            <a:r>
              <a:rPr lang="en-US" dirty="0"/>
              <a:t> oasis AI/ML RUNTIME SOFTWARE ARCHITECTUR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6DD0321E-A330-41CF-A298-6EF1C17C6006}"/>
              </a:ext>
            </a:extLst>
          </p:cNvPr>
          <p:cNvSpPr txBox="1">
            <a:spLocks/>
          </p:cNvSpPr>
          <p:nvPr/>
        </p:nvSpPr>
        <p:spPr bwMode="blackWhite">
          <a:xfrm>
            <a:off x="9381061" y="4503420"/>
            <a:ext cx="1340279" cy="67437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9144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75000"/>
              <a:buFont typeface="Arial" charset="0"/>
              <a:buNone/>
              <a:defRPr lang="en-US" sz="2100" b="0" kern="1200" cap="all" spc="-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  <a:lvl2pPr marL="900479" indent="-38099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+mn-lt"/>
              </a:defRPr>
            </a:lvl2pPr>
            <a:lvl3pPr marL="1419966" indent="-38099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67">
                <a:solidFill>
                  <a:srgbClr val="000000"/>
                </a:solidFill>
                <a:latin typeface="+mn-lt"/>
              </a:defRPr>
            </a:lvl3pPr>
            <a:lvl4pPr marL="1787058" indent="-228594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4pPr>
            <a:lvl5pPr marL="2306546" indent="-228594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5pPr>
            <a:lvl6pPr marL="2886045" indent="-28860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6pPr>
            <a:lvl7pPr marL="3405534" indent="-28860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7pPr>
            <a:lvl8pPr marL="3925022" indent="-28860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8pPr>
            <a:lvl9pPr marL="4444510" indent="-28860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en-US" altLang="zh-CN" sz="1800" b="1" dirty="0"/>
              <a:t>V1.0 </a:t>
            </a:r>
          </a:p>
          <a:p>
            <a:r>
              <a:rPr lang="en-US" altLang="zh-CN" sz="1800" b="1" dirty="0"/>
              <a:t>may, 2019</a:t>
            </a:r>
          </a:p>
          <a:p>
            <a:endParaRPr lang="en-US" altLang="zh-CN" dirty="0"/>
          </a:p>
          <a:p>
            <a:r>
              <a:rPr lang="en-US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20607017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7168" y="285392"/>
            <a:ext cx="8372905" cy="768085"/>
          </a:xfrm>
        </p:spPr>
        <p:txBody>
          <a:bodyPr/>
          <a:lstStyle/>
          <a:p>
            <a:r>
              <a:rPr lang="en-US" sz="3600" kern="1200" cap="small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asis Architecture: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D2D0EF3-466D-4EF4-A9E8-06F491D07FC8}"/>
              </a:ext>
            </a:extLst>
          </p:cNvPr>
          <p:cNvSpPr/>
          <p:nvPr/>
        </p:nvSpPr>
        <p:spPr>
          <a:xfrm>
            <a:off x="1537892" y="1205957"/>
            <a:ext cx="840096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rgbClr val="7BB1DB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	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7BB1DB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C0E3208-0A52-44D5-8016-F6A8B2B6AB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168" y="1290637"/>
            <a:ext cx="10763250" cy="458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54615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4015" y="155555"/>
            <a:ext cx="9394881" cy="768085"/>
          </a:xfrm>
        </p:spPr>
        <p:txBody>
          <a:bodyPr/>
          <a:lstStyle/>
          <a:p>
            <a:r>
              <a:rPr lang="en-US" sz="3600" kern="1200" cap="small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Mcu</a:t>
            </a:r>
            <a:r>
              <a:rPr lang="en-US" sz="3600" kern="1200" cap="small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face secure </a:t>
            </a:r>
            <a:r>
              <a:rPr lang="en-US" sz="3600" kern="1200" cap="small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RCHITECTURE</a:t>
            </a:r>
            <a:endParaRPr lang="en-US" sz="3600" kern="1200" cap="small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C568FE-603C-43A9-A993-A4B0A7A5BC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643" y="923640"/>
            <a:ext cx="988695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58565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35975-6FA7-4B83-96BB-B7CA88A6C4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4962" y="2564295"/>
            <a:ext cx="11329259" cy="2257014"/>
          </a:xfrm>
        </p:spPr>
        <p:txBody>
          <a:bodyPr/>
          <a:lstStyle/>
          <a:p>
            <a:pPr marL="0" indent="0" algn="ctr">
              <a:buNone/>
            </a:pPr>
            <a:r>
              <a:rPr lang="en-US" sz="5400" dirty="0"/>
              <a:t>BACK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F8175B-BD0A-4AFA-94CE-4C1B0852A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AADA5A-16D3-48CF-BD69-C24CEE5A3803}" type="slidenum">
              <a:rPr lang="en-GB" smtClean="0"/>
              <a:pPr/>
              <a:t>3</a:t>
            </a:fld>
            <a:r>
              <a:rPr lang="en-GB"/>
              <a:t>.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9FF9D8-BA1F-460E-BB85-8E4D6D61FFB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E2AA4D1-8EE3-4126-8406-1499F4AD3D18}" type="datetime4">
              <a:rPr lang="en-US" smtClean="0"/>
              <a:t>May 10, 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FEB242-B346-4FB0-B40C-99F6B6087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defRPr/>
            </a:pPr>
            <a:r>
              <a:rPr lang="nl-NL" noProof="1">
                <a:solidFill>
                  <a:srgbClr val="000000"/>
                </a:solidFill>
              </a:rPr>
              <a:t>COMPANY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60290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17913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Freescale PowerPoint Template&amp;quot;&quot;/&gt;&lt;property id=&quot;20307&quot; value=&quot;257&quot;/&gt;&lt;/object&gt;&lt;object type=&quot;3&quot; unique_id=&quot;10005&quot;&gt;&lt;property id=&quot;20148&quot; value=&quot;5&quot;/&gt;&lt;property id=&quot;20300&quot; value=&quot;Slide 2 - &amp;quot;Sample Slide: Text Only&amp;quot;&quot;/&gt;&lt;property id=&quot;20307&quot; value=&quot;260&quot;/&gt;&lt;/object&gt;&lt;object type=&quot;3&quot; unique_id=&quot;10006&quot;&gt;&lt;property id=&quot;20148&quot; value=&quot;5&quot;/&gt;&lt;property id=&quot;20300&quot; value=&quot;Slide 3 - &amp;quot;Sample Slide: Text + 1 Graphic&amp;quot;&quot;/&gt;&lt;property id=&quot;20307&quot; value=&quot;264&quot;/&gt;&lt;/object&gt;&lt;object type=&quot;3&quot; unique_id=&quot;10007&quot;&gt;&lt;property id=&quot;20148&quot; value=&quot;5&quot;/&gt;&lt;property id=&quot;20300&quot; value=&quot;Slide 4 - &amp;quot;Sample Slide: Text + 1 Graphic&amp;quot;&quot;/&gt;&lt;property id=&quot;20307&quot; value=&quot;265&quot;/&gt;&lt;/object&gt;&lt;object type=&quot;3&quot; unique_id=&quot;10008&quot;&gt;&lt;property id=&quot;20148&quot; value=&quot;5&quot;/&gt;&lt;property id=&quot;20300&quot; value=&quot;Slide 5 - &amp;quot;Sample Slide: Text + 2 Graphics&amp;quot;&quot;/&gt;&lt;property id=&quot;20307&quot; value=&quot;266&quot;/&gt;&lt;/object&gt;&lt;object type=&quot;3&quot; unique_id=&quot;10009&quot;&gt;&lt;property id=&quot;20148&quot; value=&quot;5&quot;/&gt;&lt;property id=&quot;20300&quot; value=&quot;Slide 6 - &amp;quot;Sample Slide: Text + 2 Graphics&amp;quot;&quot;/&gt;&lt;property id=&quot;20307&quot; value=&quot;267&quot;/&gt;&lt;/object&gt;&lt;object type=&quot;3&quot; unique_id=&quot;10010&quot;&gt;&lt;property id=&quot;20148&quot; value=&quot;5&quot;/&gt;&lt;property id=&quot;20300&quot; value=&quot;Slide 7 - &amp;quot;Sample Slide: Text + 3 Graphics&amp;quot;&quot;/&gt;&lt;property id=&quot;20307&quot; value=&quot;268&quot;/&gt;&lt;/object&gt;&lt;object type=&quot;3&quot; unique_id=&quot;10011&quot;&gt;&lt;property id=&quot;20148&quot; value=&quot;5&quot;/&gt;&lt;property id=&quot;20300&quot; value=&quot;Slide 8 - &amp;quot;Sample Slide: Text + 3 Graphics&amp;quot;&quot;/&gt;&lt;property id=&quot;20307&quot; value=&quot;269&quot;/&gt;&lt;/object&gt;&lt;object type=&quot;3&quot; unique_id=&quot;10012&quot;&gt;&lt;property id=&quot;20148&quot; value=&quot;5&quot;/&gt;&lt;property id=&quot;20300&quot; value=&quot;Slide 9 - &amp;quot;Sample Slide: Text and Logos&amp;quot;&quot;/&gt;&lt;property id=&quot;20307&quot; value=&quot;270&quot;/&gt;&lt;/object&gt;&lt;object type=&quot;3&quot; unique_id=&quot;10013&quot;&gt;&lt;property id=&quot;20148&quot; value=&quot;5&quot;/&gt;&lt;property id=&quot;20300&quot; value=&quot;Slide 10 - &amp;quot;Sample Slide: Text and Logos&amp;quot;&quot;/&gt;&lt;property id=&quot;20307&quot; value=&quot;271&quot;/&gt;&lt;/object&gt;&lt;object type=&quot;3&quot; unique_id=&quot;10014&quot;&gt;&lt;property id=&quot;20148&quot; value=&quot;5&quot;/&gt;&lt;property id=&quot;20300&quot; value=&quot;Slide 11 - &amp;quot;Sample Slide: Bar Graph&amp;quot;&quot;/&gt;&lt;property id=&quot;20307&quot; value=&quot;276&quot;/&gt;&lt;/object&gt;&lt;object type=&quot;3&quot; unique_id=&quot;10015&quot;&gt;&lt;property id=&quot;20148&quot; value=&quot;5&quot;/&gt;&lt;property id=&quot;20300&quot; value=&quot;Slide 12 - &amp;quot;Sample Slide: Bar Graph Quadrant&amp;quot;&quot;/&gt;&lt;property id=&quot;20307&quot; value=&quot;296&quot;/&gt;&lt;/object&gt;&lt;object type=&quot;3&quot; unique_id=&quot;10016&quot;&gt;&lt;property id=&quot;20148&quot; value=&quot;5&quot;/&gt;&lt;property id=&quot;20300&quot; value=&quot;Slide 13 - &amp;quot;Sample Slide: Pie Graph&amp;quot;&quot;/&gt;&lt;property id=&quot;20307&quot; value=&quot;277&quot;/&gt;&lt;/object&gt;&lt;object type=&quot;3&quot; unique_id=&quot;10017&quot;&gt;&lt;property id=&quot;20148&quot; value=&quot;5&quot;/&gt;&lt;property id=&quot;20300&quot; value=&quot;Slide 14 - &amp;quot;Sample Slide: Line Graph Quadrant&amp;quot;&quot;/&gt;&lt;property id=&quot;20307&quot; value=&quot;278&quot;/&gt;&lt;/object&gt;&lt;object type=&quot;3&quot; unique_id=&quot;10018&quot;&gt;&lt;property id=&quot;20148&quot; value=&quot;5&quot;/&gt;&lt;property id=&quot;20300&quot; value=&quot;Slide 15 - &amp;quot;Sample Slide: Line Graph&amp;quot;&quot;/&gt;&lt;property id=&quot;20307&quot; value=&quot;297&quot;/&gt;&lt;/object&gt;&lt;object type=&quot;3&quot; unique_id=&quot;10019&quot;&gt;&lt;property id=&quot;20148&quot; value=&quot;5&quot;/&gt;&lt;property id=&quot;20300&quot; value=&quot;Slide 16 - &amp;quot;Sample Slide: Diagram Slide&amp;quot;&quot;/&gt;&lt;property id=&quot;20307&quot; value=&quot;283&quot;/&gt;&lt;/object&gt;&lt;object type=&quot;3&quot; unique_id=&quot;10020&quot;&gt;&lt;property id=&quot;20148&quot; value=&quot;5&quot;/&gt;&lt;property id=&quot;20300&quot; value=&quot;Slide 17&quot;/&gt;&lt;property id=&quot;20307&quot; value=&quot;287&quot;/&gt;&lt;/object&gt;&lt;object type=&quot;3&quot; unique_id=&quot;10021&quot;&gt;&lt;property id=&quot;20148&quot; value=&quot;5&quot;/&gt;&lt;property id=&quot;20300&quot; value=&quot;Slide 18 - &amp;quot;Sample Slide: Text Treatments&amp;quot;&quot;/&gt;&lt;property id=&quot;20307&quot; value=&quot;289&quot;/&gt;&lt;/object&gt;&lt;object type=&quot;3&quot; unique_id=&quot;10022&quot;&gt;&lt;property id=&quot;20148&quot; value=&quot;5&quot;/&gt;&lt;property id=&quot;20300&quot; value=&quot;Slide 19 - &amp;quot;Sample Slide: Timeline&amp;quot;&quot;/&gt;&lt;property id=&quot;20307&quot; value=&quot;290&quot;/&gt;&lt;/object&gt;&lt;object type=&quot;3&quot; unique_id=&quot;10023&quot;&gt;&lt;property id=&quot;20148&quot; value=&quot;5&quot;/&gt;&lt;property id=&quot;20300&quot; value=&quot;Slide 20 - &amp;quot;Sample Slide: Timeline 2&amp;quot;&quot;/&gt;&lt;property id=&quot;20307&quot; value=&quot;294&quot;/&gt;&lt;/object&gt;&lt;object type=&quot;3&quot; unique_id=&quot;10024&quot;&gt;&lt;property id=&quot;20148&quot; value=&quot;5&quot;/&gt;&lt;property id=&quot;20300&quot; value=&quot;Slide 21 - &amp;quot;Sample Slide: Charts&amp;quot;&quot;/&gt;&lt;property id=&quot;20307&quot; value=&quot;295&quot;/&gt;&lt;/object&gt;&lt;object type=&quot;3&quot; unique_id=&quot;10025&quot;&gt;&lt;property id=&quot;20148&quot; value=&quot;5&quot;/&gt;&lt;property id=&quot;20300&quot; value=&quot;Slide 22 - &amp;quot;New Freescale Colors&amp;quot;&quot;/&gt;&lt;property id=&quot;20307&quot; value=&quot;293&quot;/&gt;&lt;/object&gt;&lt;object type=&quot;3&quot; unique_id=&quot;10026&quot;&gt;&lt;property id=&quot;20148&quot; value=&quot;5&quot;/&gt;&lt;property id=&quot;20300&quot; value=&quot;Slide 23 - &amp;quot;Sample Slide: Blank White Page&amp;quot;&quot;/&gt;&lt;property id=&quot;20307&quot; value=&quot;288&quot;/&gt;&lt;/object&gt;&lt;object type=&quot;3&quot; unique_id=&quot;10027&quot;&gt;&lt;property id=&quot;20148&quot; value=&quot;5&quot;/&gt;&lt;property id=&quot;20300&quot; value=&quot;Slide 24&quot;/&gt;&lt;property id=&quot;20307&quot; value=&quot;291&quot;/&gt;&lt;/object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AddInfoFont"/>
  <p:tag name="FONTSETCLASSNAME" val="FontSet1"/>
  <p:tag name="COLORS" val="-2;-2;-2;-2;SlideFooterFontColor"/>
  <p:tag name="COLORSETCLASSNAME" val="ColorSet1"/>
  <p:tag name="SCRIPT" val="1"/>
  <p:tag name="FIELDS" val="ADDINFO;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AdditonalInformations"/>
  <p:tag name="SHAPECLASSPROTECTIONTYPE" val="4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AddInfoFont"/>
  <p:tag name="FONTSETCLASSNAME" val="FontSet1"/>
  <p:tag name="COLORS" val="-2;-2;-2;-2;SlideFooterFontColor"/>
  <p:tag name="COLORSETCLASSNAME" val="ColorSet1"/>
  <p:tag name="SCRIPT" val="1"/>
  <p:tag name="FIELDS" val="ADDINFO;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AdditonalInformations"/>
  <p:tag name="SHAPECLASSPROTECTIONTYPE" val="4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NXP-SCfSW-Sep-2014-CONFIDENTIAL-16x9-HR">
  <a:themeElements>
    <a:clrScheme name="NXP_Palette_">
      <a:dk1>
        <a:srgbClr val="000000"/>
      </a:dk1>
      <a:lt1>
        <a:srgbClr val="FFFFFF"/>
      </a:lt1>
      <a:dk2>
        <a:srgbClr val="969696"/>
      </a:dk2>
      <a:lt2>
        <a:srgbClr val="FFFFFF"/>
      </a:lt2>
      <a:accent1>
        <a:srgbClr val="F9B500"/>
      </a:accent1>
      <a:accent2>
        <a:srgbClr val="7BB1DB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FFCF00"/>
      </a:hlink>
      <a:folHlink>
        <a:srgbClr val="9ED3CA"/>
      </a:folHlink>
    </a:clrScheme>
    <a:fontScheme name="NXP template_4_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XP template_4_3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88DBFC"/>
        </a:accent1>
        <a:accent2>
          <a:srgbClr val="B7F000"/>
        </a:accent2>
        <a:accent3>
          <a:srgbClr val="FFFFFF"/>
        </a:accent3>
        <a:accent4>
          <a:srgbClr val="000000"/>
        </a:accent4>
        <a:accent5>
          <a:srgbClr val="C3EAFD"/>
        </a:accent5>
        <a:accent6>
          <a:srgbClr val="A6D900"/>
        </a:accent6>
        <a:hlink>
          <a:srgbClr val="FFAD3F"/>
        </a:hlink>
        <a:folHlink>
          <a:srgbClr val="00B4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NXP-SCfSW-Sep-2014-CONFIDENTIAL-16x9-HR_no-pics">
  <a:themeElements>
    <a:clrScheme name="NXP_Palette_">
      <a:dk1>
        <a:srgbClr val="000000"/>
      </a:dk1>
      <a:lt1>
        <a:srgbClr val="FFFFFF"/>
      </a:lt1>
      <a:dk2>
        <a:srgbClr val="969696"/>
      </a:dk2>
      <a:lt2>
        <a:srgbClr val="FFFFFF"/>
      </a:lt2>
      <a:accent1>
        <a:srgbClr val="F9B500"/>
      </a:accent1>
      <a:accent2>
        <a:srgbClr val="7BB1DB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FFCF00"/>
      </a:hlink>
      <a:folHlink>
        <a:srgbClr val="9ED3CA"/>
      </a:folHlink>
    </a:clrScheme>
    <a:fontScheme name="NXP template_4_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XP template_4_3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88DBFC"/>
        </a:accent1>
        <a:accent2>
          <a:srgbClr val="B7F000"/>
        </a:accent2>
        <a:accent3>
          <a:srgbClr val="FFFFFF"/>
        </a:accent3>
        <a:accent4>
          <a:srgbClr val="000000"/>
        </a:accent4>
        <a:accent5>
          <a:srgbClr val="C3EAFD"/>
        </a:accent5>
        <a:accent6>
          <a:srgbClr val="A6D900"/>
        </a:accent6>
        <a:hlink>
          <a:srgbClr val="FFAD3F"/>
        </a:hlink>
        <a:folHlink>
          <a:srgbClr val="00B4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XP-16x9-HR_no-pics_right size" id="{63A7CB69-EA36-004D-8577-F5AB1CB7F7EA}" vid="{F83AD4E6-C173-9F4C-B99F-1B09685C420C}"/>
    </a:ext>
  </a:extLst>
</a:theme>
</file>

<file path=ppt/theme/theme3.xml><?xml version="1.0" encoding="utf-8"?>
<a:theme xmlns:a="http://schemas.openxmlformats.org/drawingml/2006/main" name="15_NXP-SCfSW-Sep-2014-CONFIDENTIAL-16x9-HR_no-pics">
  <a:themeElements>
    <a:clrScheme name="NXP_Palette_">
      <a:dk1>
        <a:srgbClr val="000000"/>
      </a:dk1>
      <a:lt1>
        <a:srgbClr val="FFFFFF"/>
      </a:lt1>
      <a:dk2>
        <a:srgbClr val="969696"/>
      </a:dk2>
      <a:lt2>
        <a:srgbClr val="FFFFFF"/>
      </a:lt2>
      <a:accent1>
        <a:srgbClr val="F9B500"/>
      </a:accent1>
      <a:accent2>
        <a:srgbClr val="7BB1DB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FFCF00"/>
      </a:hlink>
      <a:folHlink>
        <a:srgbClr val="9ED3CA"/>
      </a:folHlink>
    </a:clrScheme>
    <a:fontScheme name="NXP template_4_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XP template_4_3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88DBFC"/>
        </a:accent1>
        <a:accent2>
          <a:srgbClr val="B7F000"/>
        </a:accent2>
        <a:accent3>
          <a:srgbClr val="FFFFFF"/>
        </a:accent3>
        <a:accent4>
          <a:srgbClr val="000000"/>
        </a:accent4>
        <a:accent5>
          <a:srgbClr val="C3EAFD"/>
        </a:accent5>
        <a:accent6>
          <a:srgbClr val="A6D900"/>
        </a:accent6>
        <a:hlink>
          <a:srgbClr val="FFAD3F"/>
        </a:hlink>
        <a:folHlink>
          <a:srgbClr val="00B4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XP-16x9-HR_no-pics_right size" id="{63A7CB69-EA36-004D-8577-F5AB1CB7F7EA}" vid="{F83AD4E6-C173-9F4C-B99F-1B09685C420C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1_ FSL Logo Slide">
  <a:themeElements>
    <a:clrScheme name="Custom 43">
      <a:dk1>
        <a:srgbClr val="000000"/>
      </a:dk1>
      <a:lt1>
        <a:sysClr val="window" lastClr="FFFFFF"/>
      </a:lt1>
      <a:dk2>
        <a:srgbClr val="969696"/>
      </a:dk2>
      <a:lt2>
        <a:srgbClr val="FFFFFF"/>
      </a:lt2>
      <a:accent1>
        <a:srgbClr val="7BB1DB"/>
      </a:accent1>
      <a:accent2>
        <a:srgbClr val="F9B500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3789C8"/>
      </a:hlink>
      <a:folHlink>
        <a:srgbClr val="9ED3CA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Master Content Slide">
  <a:themeElements>
    <a:clrScheme name="Custom 39">
      <a:dk1>
        <a:srgbClr val="000000"/>
      </a:dk1>
      <a:lt1>
        <a:sysClr val="window" lastClr="FFFFFF"/>
      </a:lt1>
      <a:dk2>
        <a:srgbClr val="969696"/>
      </a:dk2>
      <a:lt2>
        <a:srgbClr val="FFFFFF"/>
      </a:lt2>
      <a:accent1>
        <a:srgbClr val="7BB1DB"/>
      </a:accent1>
      <a:accent2>
        <a:srgbClr val="F9B500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3789C8"/>
      </a:hlink>
      <a:folHlink>
        <a:srgbClr val="9ED3CA"/>
      </a:folHlink>
    </a:clrScheme>
    <a:fontScheme name="Master_PPT_Confident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7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rtlCol="0" anchor="t">
        <a:noAutofit/>
      </a:bodyPr>
      <a:lstStyle>
        <a:defPPr>
          <a:defRPr sz="22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aster_PPT_Confidential 1">
        <a:dk1>
          <a:srgbClr val="000000"/>
        </a:dk1>
        <a:lt1>
          <a:srgbClr val="FFFFFF"/>
        </a:lt1>
        <a:dk2>
          <a:srgbClr val="000000"/>
        </a:dk2>
        <a:lt2>
          <a:srgbClr val="DAD1C6"/>
        </a:lt2>
        <a:accent1>
          <a:srgbClr val="00608B"/>
        </a:accent1>
        <a:accent2>
          <a:srgbClr val="73BFD7"/>
        </a:accent2>
        <a:accent3>
          <a:srgbClr val="FFFFFF"/>
        </a:accent3>
        <a:accent4>
          <a:srgbClr val="000000"/>
        </a:accent4>
        <a:accent5>
          <a:srgbClr val="AAB6C4"/>
        </a:accent5>
        <a:accent6>
          <a:srgbClr val="68ADC3"/>
        </a:accent6>
        <a:hlink>
          <a:srgbClr val="998875"/>
        </a:hlink>
        <a:folHlink>
          <a:srgbClr val="C3CC5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NXP-SCfSW-Sep-2014-CONFIDENTIAL-16x9-HR_no-pics">
  <a:themeElements>
    <a:clrScheme name="NXP_Palette_">
      <a:dk1>
        <a:srgbClr val="000000"/>
      </a:dk1>
      <a:lt1>
        <a:srgbClr val="FFFFFF"/>
      </a:lt1>
      <a:dk2>
        <a:srgbClr val="969696"/>
      </a:dk2>
      <a:lt2>
        <a:srgbClr val="FFFFFF"/>
      </a:lt2>
      <a:accent1>
        <a:srgbClr val="F9B500"/>
      </a:accent1>
      <a:accent2>
        <a:srgbClr val="7BB1DB"/>
      </a:accent2>
      <a:accent3>
        <a:srgbClr val="C9D200"/>
      </a:accent3>
      <a:accent4>
        <a:srgbClr val="D54E12"/>
      </a:accent4>
      <a:accent5>
        <a:srgbClr val="A40044"/>
      </a:accent5>
      <a:accent6>
        <a:srgbClr val="979200"/>
      </a:accent6>
      <a:hlink>
        <a:srgbClr val="FFCF00"/>
      </a:hlink>
      <a:folHlink>
        <a:srgbClr val="9ED3CA"/>
      </a:folHlink>
    </a:clrScheme>
    <a:fontScheme name="NXP template_4_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XP template_4_3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88DBFC"/>
        </a:accent1>
        <a:accent2>
          <a:srgbClr val="B7F000"/>
        </a:accent2>
        <a:accent3>
          <a:srgbClr val="FFFFFF"/>
        </a:accent3>
        <a:accent4>
          <a:srgbClr val="000000"/>
        </a:accent4>
        <a:accent5>
          <a:srgbClr val="C3EAFD"/>
        </a:accent5>
        <a:accent6>
          <a:srgbClr val="A6D900"/>
        </a:accent6>
        <a:hlink>
          <a:srgbClr val="FFAD3F"/>
        </a:hlink>
        <a:folHlink>
          <a:srgbClr val="00B4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NXP_CF_NXP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22D"/>
      </a:accent1>
      <a:accent2>
        <a:srgbClr val="4895D4"/>
      </a:accent2>
      <a:accent3>
        <a:srgbClr val="223C8D"/>
      </a:accent3>
      <a:accent4>
        <a:srgbClr val="4D2587"/>
      </a:accent4>
      <a:accent5>
        <a:srgbClr val="FE950A"/>
      </a:accent5>
      <a:accent6>
        <a:srgbClr val="808080"/>
      </a:accent6>
      <a:hlink>
        <a:srgbClr val="223C8D"/>
      </a:hlink>
      <a:folHlink>
        <a:srgbClr val="4D258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22D"/>
        </a:accent1>
        <a:accent2>
          <a:srgbClr val="4895D4"/>
        </a:accent2>
        <a:accent3>
          <a:srgbClr val="223C8D"/>
        </a:accent3>
        <a:accent4>
          <a:srgbClr val="4D2587"/>
        </a:accent4>
        <a:accent5>
          <a:srgbClr val="FE950A"/>
        </a:accent5>
        <a:accent6>
          <a:srgbClr val="808080"/>
        </a:accent6>
        <a:hlink>
          <a:srgbClr val="223C8D"/>
        </a:hlink>
        <a:folHlink>
          <a:srgbClr val="4D258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XP_CF_NXP028.potx" id="{A82E9E2C-E4AC-4DC3-8B48-EC778EC8AC45}" vid="{91FA26BE-A64C-43AE-BE15-BA0F450197DF}"/>
    </a:ext>
  </a:extLst>
</a:theme>
</file>

<file path=ppt/theme/theme9.xml><?xml version="1.0" encoding="utf-8"?>
<a:theme xmlns:a="http://schemas.openxmlformats.org/drawingml/2006/main" name="Logo Slide">
  <a:themeElements>
    <a:clrScheme name="9616_nxpCOLORSFINAL">
      <a:dk1>
        <a:srgbClr val="000000"/>
      </a:dk1>
      <a:lt1>
        <a:sysClr val="window" lastClr="FFFFFF"/>
      </a:lt1>
      <a:dk2>
        <a:srgbClr val="969696"/>
      </a:dk2>
      <a:lt2>
        <a:srgbClr val="FFFFFF"/>
      </a:lt2>
      <a:accent1>
        <a:srgbClr val="4895D4"/>
      </a:accent1>
      <a:accent2>
        <a:srgbClr val="223C8D"/>
      </a:accent2>
      <a:accent3>
        <a:srgbClr val="4D2587"/>
      </a:accent3>
      <a:accent4>
        <a:srgbClr val="95B814"/>
      </a:accent4>
      <a:accent5>
        <a:srgbClr val="FE950A"/>
      </a:accent5>
      <a:accent6>
        <a:srgbClr val="E00E4F"/>
      </a:accent6>
      <a:hlink>
        <a:srgbClr val="4895D4"/>
      </a:hlink>
      <a:folHlink>
        <a:srgbClr val="2C975B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4CC55496EE37429F0539507475F83C" ma:contentTypeVersion="12" ma:contentTypeDescription="Create a new document." ma:contentTypeScope="" ma:versionID="6b3e9f92c4a9500b8d54d93b34985d4b">
  <xsd:schema xmlns:xsd="http://www.w3.org/2001/XMLSchema" xmlns:xs="http://www.w3.org/2001/XMLSchema" xmlns:p="http://schemas.microsoft.com/office/2006/metadata/properties" xmlns:ns2="87469a81-f152-4684-a0e0-61242ebdebb2" xmlns:ns3="392d2610-7885-4648-9343-13aeeb4943c7" targetNamespace="http://schemas.microsoft.com/office/2006/metadata/properties" ma:root="true" ma:fieldsID="3cd45c92366f4f33a2b5a9d0dadb7cf4" ns2:_="" ns3:_="">
    <xsd:import namespace="87469a81-f152-4684-a0e0-61242ebdebb2"/>
    <xsd:import namespace="392d2610-7885-4648-9343-13aeeb4943c7"/>
    <xsd:element name="properties">
      <xsd:complexType>
        <xsd:sequence>
          <xsd:element name="documentManagement">
            <xsd:complexType>
              <xsd:all>
                <xsd:element ref="ns2:Segment" minOccurs="0"/>
                <xsd:element ref="ns3:SharedWithDetails" minOccurs="0"/>
                <xsd:element ref="ns3:SharedWithUsers" minOccurs="0"/>
                <xsd:element ref="ns2:Doc_category" minOccurs="0"/>
                <xsd:element ref="ns2:Link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Dat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469a81-f152-4684-a0e0-61242ebdebb2" elementFormDefault="qualified">
    <xsd:import namespace="http://schemas.microsoft.com/office/2006/documentManagement/types"/>
    <xsd:import namespace="http://schemas.microsoft.com/office/infopath/2007/PartnerControls"/>
    <xsd:element name="Segment" ma:index="8" nillable="true" ma:displayName="Segment" ma:description="Which of the 5 segments." ma:format="Dropdown" ma:indexed="true" ma:internalName="Segment">
      <xsd:simpleType>
        <xsd:restriction base="dms:Choice">
          <xsd:enumeration value="Secure Transactions"/>
          <xsd:enumeration value="Smart Power"/>
          <xsd:enumeration value="IoT"/>
          <xsd:enumeration value="NXP Designs"/>
          <xsd:enumeration value="Execution and Delivery"/>
          <xsd:enumeration value="N/A"/>
        </xsd:restriction>
      </xsd:simpleType>
    </xsd:element>
    <xsd:element name="Doc_category" ma:index="11" nillable="true" ma:displayName="Doc_category" ma:format="Dropdown" ma:internalName="Doc_category">
      <xsd:simpleType>
        <xsd:restriction base="dms:Choice">
          <xsd:enumeration value="Marketing Content"/>
          <xsd:enumeration value="Architecture"/>
          <xsd:enumeration value="Integrator"/>
        </xsd:restriction>
      </xsd:simpleType>
    </xsd:element>
    <xsd:element name="Link" ma:index="12" nillable="true" ma:displayName="Link" ma:format="Hyperlink" ma:internalName="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Date" ma:index="18" nillable="true" ma:displayName="Date" ma:format="DateOnly" ma:internalName="Date">
      <xsd:simpleType>
        <xsd:restriction base="dms:DateTime"/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d2610-7885-4648-9343-13aeeb4943c7" elementFormDefault="qualified">
    <xsd:import namespace="http://schemas.microsoft.com/office/2006/documentManagement/types"/>
    <xsd:import namespace="http://schemas.microsoft.com/office/infopath/2007/PartnerControls"/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egment xmlns="87469a81-f152-4684-a0e0-61242ebdebb2" xsi:nil="true"/>
    <Doc_category xmlns="87469a81-f152-4684-a0e0-61242ebdebb2" xsi:nil="true"/>
    <Date xmlns="87469a81-f152-4684-a0e0-61242ebdebb2" xsi:nil="true"/>
    <Link xmlns="87469a81-f152-4684-a0e0-61242ebdebb2">
      <Url xsi:nil="true"/>
      <Description xsi:nil="true"/>
    </Link>
  </documentManagement>
</p:properties>
</file>

<file path=customXml/itemProps1.xml><?xml version="1.0" encoding="utf-8"?>
<ds:datastoreItem xmlns:ds="http://schemas.openxmlformats.org/officeDocument/2006/customXml" ds:itemID="{FA1C6540-358C-4389-8197-DEBD6EA8D9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469a81-f152-4684-a0e0-61242ebdebb2"/>
    <ds:schemaRef ds:uri="392d2610-7885-4648-9343-13aeeb4943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A5F6ED8-9619-4B25-B653-CA84BBEA18F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72701F-B0D8-48B8-AFB2-B9D52ABD8E12}">
  <ds:schemaRefs>
    <ds:schemaRef ds:uri="http://schemas.microsoft.com/office/infopath/2007/PartnerControls"/>
    <ds:schemaRef ds:uri="http://schemas.openxmlformats.org/package/2006/metadata/core-properties"/>
    <ds:schemaRef ds:uri="87469a81-f152-4684-a0e0-61242ebdebb2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392d2610-7885-4648-9343-13aeeb4943c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Pages>0</Pages>
  <Words>33</Words>
  <Characters>0</Characters>
  <Application>Microsoft Office PowerPoint</Application>
  <DocSecurity>0</DocSecurity>
  <PresentationFormat>Widescreen</PresentationFormat>
  <Lines>0</Lines>
  <Paragraphs>19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2" baseType="lpstr">
      <vt:lpstr>宋体</vt:lpstr>
      <vt:lpstr>Arial</vt:lpstr>
      <vt:lpstr>Calibri</vt:lpstr>
      <vt:lpstr>Calibri Light</vt:lpstr>
      <vt:lpstr>Wingdings</vt:lpstr>
      <vt:lpstr>Office Theme</vt:lpstr>
      <vt:lpstr>NXP-SCfSW-Sep-2014-CONFIDENTIAL-16x9-HR_no-pics</vt:lpstr>
      <vt:lpstr>15_NXP-SCfSW-Sep-2014-CONFIDENTIAL-16x9-HR_no-pics</vt:lpstr>
      <vt:lpstr>1_Office Theme</vt:lpstr>
      <vt:lpstr>11_ FSL Logo Slide</vt:lpstr>
      <vt:lpstr>1_Master Content Slide</vt:lpstr>
      <vt:lpstr>1_NXP-SCfSW-Sep-2014-CONFIDENTIAL-16x9-HR_no-pics</vt:lpstr>
      <vt:lpstr>NXP_CF_NXP028</vt:lpstr>
      <vt:lpstr>Logo Slide</vt:lpstr>
      <vt:lpstr>2_Office Theme</vt:lpstr>
      <vt:lpstr>NXP-SCfSW-Sep-2014-CONFIDENTIAL-16x9-HR</vt:lpstr>
      <vt:lpstr>think-cell Slide</vt:lpstr>
      <vt:lpstr>Nxp oasis AI/ML RUNTIME SOFTWARE ARCHITECTURE</vt:lpstr>
      <vt:lpstr>Oasis Architecture:</vt:lpstr>
      <vt:lpstr>Mcu face secure aRCHITECTURE</vt:lpstr>
      <vt:lpstr>PowerPoint Presentation</vt:lpstr>
      <vt:lpstr>PowerPoint Presentation</vt:lpstr>
    </vt:vector>
  </TitlesOfParts>
  <Company>Free Scale</Company>
  <LinksUpToDate>false</LinksUpToDate>
  <CharactersWithSpaces>0</CharactersWithSpaces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XP Powerpoint template confidential 16:9 Widescreen</dc:title>
  <dc:creator>Nirali Patel</dc:creator>
  <cp:lastModifiedBy>Dongsheng Zhang</cp:lastModifiedBy>
  <cp:revision>1484</cp:revision>
  <cp:lastPrinted>2017-05-02T14:03:51Z</cp:lastPrinted>
  <dcterms:created xsi:type="dcterms:W3CDTF">2012-11-14T23:25:03Z</dcterms:created>
  <dcterms:modified xsi:type="dcterms:W3CDTF">2019-05-10T09:4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4CC55496EE37429F0539507475F83C</vt:lpwstr>
  </property>
</Properties>
</file>